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9.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8.xml" ContentType="application/vnd.openxmlformats-officedocument.presentationml.notesSlide+xml"/>
  <Override PartName="/ppt/tags/tag269.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11.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12.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notesSlides/notesSlide13.xml" ContentType="application/vnd.openxmlformats-officedocument.presentationml.notesSlide+xml"/>
  <Override PartName="/ppt/tags/tag278.xml" ContentType="application/vnd.openxmlformats-officedocument.presentationml.tags+xml"/>
  <Override PartName="/ppt/notesSlides/notesSlide14.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15.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16.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17.xml" ContentType="application/vnd.openxmlformats-officedocument.presentationml.notesSlide+xml"/>
  <Override PartName="/ppt/tags/tag299.xml" ContentType="application/vnd.openxmlformats-officedocument.presentationml.tags+xml"/>
  <Override PartName="/ppt/notesSlides/notesSlide18.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48" r:id="rId4"/>
    <p:sldMasterId id="2147483697" r:id="rId5"/>
    <p:sldMasterId id="2147483714" r:id="rId6"/>
    <p:sldMasterId id="2147483730" r:id="rId7"/>
    <p:sldMasterId id="2147483745" r:id="rId8"/>
    <p:sldMasterId id="2147483762" r:id="rId9"/>
    <p:sldMasterId id="2147483775" r:id="rId10"/>
    <p:sldMasterId id="2147483790" r:id="rId11"/>
    <p:sldMasterId id="2147483806" r:id="rId12"/>
    <p:sldMasterId id="2147483826" r:id="rId13"/>
  </p:sldMasterIdLst>
  <p:notesMasterIdLst>
    <p:notesMasterId r:id="rId40"/>
  </p:notesMasterIdLst>
  <p:sldIdLst>
    <p:sldId id="256" r:id="rId14"/>
    <p:sldId id="2147375782" r:id="rId15"/>
    <p:sldId id="2147375787" r:id="rId16"/>
    <p:sldId id="2147375816" r:id="rId17"/>
    <p:sldId id="2147375808" r:id="rId18"/>
    <p:sldId id="2147375814" r:id="rId19"/>
    <p:sldId id="2147375794" r:id="rId20"/>
    <p:sldId id="2147375788" r:id="rId21"/>
    <p:sldId id="2147473760" r:id="rId22"/>
    <p:sldId id="2147473596" r:id="rId23"/>
    <p:sldId id="2147473598" r:id="rId24"/>
    <p:sldId id="2147473759" r:id="rId25"/>
    <p:sldId id="2147473448" r:id="rId26"/>
    <p:sldId id="2147473318" r:id="rId27"/>
    <p:sldId id="2147375786" r:id="rId28"/>
    <p:sldId id="2147473590" r:id="rId29"/>
    <p:sldId id="2147376042" r:id="rId30"/>
    <p:sldId id="2147473310" r:id="rId31"/>
    <p:sldId id="2147473276" r:id="rId32"/>
    <p:sldId id="2147473309" r:id="rId33"/>
    <p:sldId id="2147473306" r:id="rId34"/>
    <p:sldId id="2147473294" r:id="rId35"/>
    <p:sldId id="2147473296" r:id="rId36"/>
    <p:sldId id="2147473308" r:id="rId37"/>
    <p:sldId id="2147473307" r:id="rId38"/>
    <p:sldId id="257" r:id="rId39"/>
  </p:sldIdLst>
  <p:sldSz cx="12192000" cy="6858000"/>
  <p:notesSz cx="6858000" cy="9144000"/>
  <p:embeddedFontLst>
    <p:embeddedFont>
      <p:font typeface="Abadi" panose="020B0604020104020204" pitchFamily="34" charset="0"/>
      <p:regular r:id="rId41"/>
    </p:embeddedFont>
    <p:embeddedFont>
      <p:font typeface="Arial Narrow" panose="020B0606020202030204" pitchFamily="34" charset="0"/>
      <p:regular r:id="rId42"/>
      <p:bold r:id="rId43"/>
      <p:italic r:id="rId44"/>
      <p:boldItalic r:id="rId45"/>
    </p:embeddedFont>
    <p:embeddedFont>
      <p:font typeface="Arial Nova" panose="020B0504020202020204" pitchFamily="34" charset="0"/>
      <p:regular r:id="rId46"/>
      <p:bold r:id="rId47"/>
      <p:italic r:id="rId48"/>
      <p:boldItalic r:id="rId49"/>
    </p:embeddedFont>
    <p:embeddedFont>
      <p:font typeface="Calibri" panose="020F0502020204030204" pitchFamily="34" charset="0"/>
      <p:regular r:id="rId50"/>
      <p:bold r:id="rId51"/>
      <p:italic r:id="rId52"/>
      <p:boldItalic r:id="rId53"/>
    </p:embeddedFont>
    <p:embeddedFont>
      <p:font typeface="Calibri Light" panose="020F0302020204030204" pitchFamily="34" charset="0"/>
      <p:regular r:id="rId54"/>
      <p:italic r:id="rId55"/>
    </p:embeddedFont>
    <p:embeddedFont>
      <p:font typeface="Corbel" panose="020B0503020204020204" pitchFamily="34" charset="0"/>
      <p:regular r:id="rId56"/>
      <p:bold r:id="rId57"/>
      <p:italic r:id="rId58"/>
      <p:boldItalic r:id="rId59"/>
    </p:embeddedFont>
    <p:embeddedFont>
      <p:font typeface="Ebrima" panose="02000000000000000000" pitchFamily="2" charset="0"/>
      <p:regular r:id="rId60"/>
      <p:bold r:id="rId61"/>
    </p:embeddedFont>
    <p:embeddedFont>
      <p:font typeface="Georgia" panose="02040502050405020303" pitchFamily="18" charset="0"/>
      <p:regular r:id="rId62"/>
      <p:bold r:id="rId63"/>
      <p:italic r:id="rId64"/>
      <p:boldItalic r:id="rId65"/>
    </p:embeddedFont>
    <p:embeddedFont>
      <p:font typeface="Helvetica" panose="020B0604020202020204" pitchFamily="34" charset="0"/>
      <p:regular r:id="rId66"/>
      <p:bold r:id="rId67"/>
      <p:italic r:id="rId68"/>
      <p:boldItalic r:id="rId69"/>
    </p:embeddedFont>
    <p:embeddedFont>
      <p:font typeface="Leelawadee" panose="020B0502040204020203" pitchFamily="34" charset="-34"/>
      <p:regular r:id="rId70"/>
      <p:bold r:id="rId71"/>
    </p:embeddedFont>
    <p:embeddedFont>
      <p:font typeface="Open Sans" panose="020B0606030504020204" pitchFamily="34" charset="0"/>
      <p:regular r:id="rId72"/>
      <p:bold r:id="rId73"/>
      <p:italic r:id="rId74"/>
      <p:boldItalic r:id="rId75"/>
    </p:embeddedFont>
    <p:embeddedFont>
      <p:font typeface="Roboto" panose="02000000000000000000" pitchFamily="2" charset="0"/>
      <p:regular r:id="rId76"/>
      <p:bold r:id="rId77"/>
      <p:italic r:id="rId78"/>
      <p:boldItalic r:id="rId79"/>
    </p:embeddedFont>
    <p:embeddedFont>
      <p:font typeface="Segoe Condensed" panose="02010600030101010101" charset="0"/>
      <p:regular r:id="rId80"/>
      <p:bold r:id="rId81"/>
    </p:embeddedFont>
    <p:embeddedFont>
      <p:font typeface="Segoe UI" panose="020B0502040204020203" pitchFamily="34" charset="0"/>
      <p:regular r:id="rId82"/>
      <p:bold r:id="rId83"/>
      <p:italic r:id="rId84"/>
      <p:boldItalic r:id="rId85"/>
    </p:embeddedFont>
    <p:embeddedFont>
      <p:font typeface="Trebuchet MS" panose="020B0603020202020204" pitchFamily="34" charset="0"/>
      <p:regular r:id="rId86"/>
      <p:bold r:id="rId87"/>
      <p:italic r:id="rId88"/>
      <p:boldItalic r:id="rId89"/>
    </p:embeddedFont>
  </p:embeddedFontLst>
  <p:custDataLst>
    <p:tags r:id="rId9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DMARK, Sandra" initials="LS" lastIdx="0" clrIdx="0">
    <p:extLst>
      <p:ext uri="{19B8F6BF-5375-455C-9EA6-DF929625EA0E}">
        <p15:presenceInfo xmlns:p15="http://schemas.microsoft.com/office/powerpoint/2012/main" userId="S::lindmarks@who.int::8dd7256b-7d3f-41eb-98cc-417b1a3548d9" providerId="AD"/>
      </p:ext>
    </p:extLst>
  </p:cmAuthor>
  <p:cmAuthor id="2" name="SCHMIDT, Tanja" initials="ST" lastIdx="0" clrIdx="1">
    <p:extLst>
      <p:ext uri="{19B8F6BF-5375-455C-9EA6-DF929625EA0E}">
        <p15:presenceInfo xmlns:p15="http://schemas.microsoft.com/office/powerpoint/2012/main" userId="S::schmidtt@who.int::0a137e40-dac3-493e-b54c-a3cd32a902e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DE"/>
    <a:srgbClr val="DDEFF9"/>
    <a:srgbClr val="666699"/>
    <a:srgbClr val="79B5E3"/>
    <a:srgbClr val="F8F8F8"/>
    <a:srgbClr val="00205C"/>
    <a:srgbClr val="C9DDF3"/>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8448F7-3DB7-F8AF-165B-B4B9E47669FB}" v="7" dt="2022-11-23T14:47:18.293"/>
    <p1510:client id="{7841E0CC-1FEA-0B42-88AD-6AE9D88B9FC1}" v="57" dt="2022-11-24T08:30:26.292"/>
    <p1510:client id="{79A01CFB-4168-1D4D-F8B7-E941481A0330}" v="8" dt="2022-11-24T05:26:49.426"/>
    <p1510:client id="{7E9083CA-5F6A-82A4-6175-809C2A719821}" v="2" dt="2022-11-23T14:40:28.5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0"/>
    <p:restoredTop sz="0"/>
  </p:normalViewPr>
  <p:slideViewPr>
    <p:cSldViewPr snapToGrid="0">
      <p:cViewPr varScale="1">
        <p:scale>
          <a:sx n="91" d="100"/>
          <a:sy n="91" d="100"/>
        </p:scale>
        <p:origin x="90" y="51"/>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font" Target="fonts/font2.fntdata"/><Relationship Id="rId47" Type="http://schemas.openxmlformats.org/officeDocument/2006/relationships/font" Target="fonts/font7.fntdata"/><Relationship Id="rId63" Type="http://schemas.openxmlformats.org/officeDocument/2006/relationships/font" Target="fonts/font23.fntdata"/><Relationship Id="rId68" Type="http://schemas.openxmlformats.org/officeDocument/2006/relationships/font" Target="fonts/font28.fntdata"/><Relationship Id="rId84" Type="http://schemas.openxmlformats.org/officeDocument/2006/relationships/font" Target="fonts/font44.fntdata"/><Relationship Id="rId89" Type="http://schemas.openxmlformats.org/officeDocument/2006/relationships/font" Target="fonts/font49.fntdata"/><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font" Target="fonts/font13.fntdata"/><Relationship Id="rId58" Type="http://schemas.openxmlformats.org/officeDocument/2006/relationships/font" Target="fonts/font18.fntdata"/><Relationship Id="rId74" Type="http://schemas.openxmlformats.org/officeDocument/2006/relationships/font" Target="fonts/font34.fntdata"/><Relationship Id="rId79" Type="http://schemas.openxmlformats.org/officeDocument/2006/relationships/font" Target="fonts/font39.fntdata"/><Relationship Id="rId5" Type="http://schemas.openxmlformats.org/officeDocument/2006/relationships/slideMaster" Target="slideMasters/slideMaster2.xml"/><Relationship Id="rId90" Type="http://schemas.openxmlformats.org/officeDocument/2006/relationships/tags" Target="tags/tag1.xml"/><Relationship Id="rId95" Type="http://schemas.openxmlformats.org/officeDocument/2006/relationships/tableStyles" Target="tableStyles.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font" Target="fonts/font3.fntdata"/><Relationship Id="rId48" Type="http://schemas.openxmlformats.org/officeDocument/2006/relationships/font" Target="fonts/font8.fntdata"/><Relationship Id="rId64" Type="http://schemas.openxmlformats.org/officeDocument/2006/relationships/font" Target="fonts/font24.fntdata"/><Relationship Id="rId69" Type="http://schemas.openxmlformats.org/officeDocument/2006/relationships/font" Target="fonts/font29.fntdata"/><Relationship Id="rId80" Type="http://schemas.openxmlformats.org/officeDocument/2006/relationships/font" Target="fonts/font40.fntdata"/><Relationship Id="rId85" Type="http://schemas.openxmlformats.org/officeDocument/2006/relationships/font" Target="fonts/font45.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font" Target="fonts/font6.fntdata"/><Relationship Id="rId59" Type="http://schemas.openxmlformats.org/officeDocument/2006/relationships/font" Target="fonts/font19.fntdata"/><Relationship Id="rId67" Type="http://schemas.openxmlformats.org/officeDocument/2006/relationships/font" Target="fonts/font27.fntdata"/><Relationship Id="rId20" Type="http://schemas.openxmlformats.org/officeDocument/2006/relationships/slide" Target="slides/slide7.xml"/><Relationship Id="rId41" Type="http://schemas.openxmlformats.org/officeDocument/2006/relationships/font" Target="fonts/font1.fntdata"/><Relationship Id="rId54" Type="http://schemas.openxmlformats.org/officeDocument/2006/relationships/font" Target="fonts/font14.fntdata"/><Relationship Id="rId62" Type="http://schemas.openxmlformats.org/officeDocument/2006/relationships/font" Target="fonts/font22.fntdata"/><Relationship Id="rId70" Type="http://schemas.openxmlformats.org/officeDocument/2006/relationships/font" Target="fonts/font30.fntdata"/><Relationship Id="rId75" Type="http://schemas.openxmlformats.org/officeDocument/2006/relationships/font" Target="fonts/font35.fntdata"/><Relationship Id="rId83" Type="http://schemas.openxmlformats.org/officeDocument/2006/relationships/font" Target="fonts/font43.fntdata"/><Relationship Id="rId88" Type="http://schemas.openxmlformats.org/officeDocument/2006/relationships/font" Target="fonts/font48.fntdata"/><Relationship Id="rId91" Type="http://schemas.openxmlformats.org/officeDocument/2006/relationships/commentAuthors" Target="commentAuthors.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font" Target="fonts/font9.fntdata"/><Relationship Id="rId57" Type="http://schemas.openxmlformats.org/officeDocument/2006/relationships/font" Target="fonts/font17.fntdata"/><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font" Target="fonts/font4.fntdata"/><Relationship Id="rId52" Type="http://schemas.openxmlformats.org/officeDocument/2006/relationships/font" Target="fonts/font12.fntdata"/><Relationship Id="rId60" Type="http://schemas.openxmlformats.org/officeDocument/2006/relationships/font" Target="fonts/font20.fntdata"/><Relationship Id="rId65" Type="http://schemas.openxmlformats.org/officeDocument/2006/relationships/font" Target="fonts/font25.fntdata"/><Relationship Id="rId73" Type="http://schemas.openxmlformats.org/officeDocument/2006/relationships/font" Target="fonts/font33.fntdata"/><Relationship Id="rId78" Type="http://schemas.openxmlformats.org/officeDocument/2006/relationships/font" Target="fonts/font38.fntdata"/><Relationship Id="rId81" Type="http://schemas.openxmlformats.org/officeDocument/2006/relationships/font" Target="fonts/font41.fntdata"/><Relationship Id="rId86" Type="http://schemas.openxmlformats.org/officeDocument/2006/relationships/font" Target="fonts/font46.fntdata"/><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font" Target="fonts/font10.fntdata"/><Relationship Id="rId55" Type="http://schemas.openxmlformats.org/officeDocument/2006/relationships/font" Target="fonts/font15.fntdata"/><Relationship Id="rId76" Type="http://schemas.openxmlformats.org/officeDocument/2006/relationships/font" Target="fonts/font36.fntdata"/><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font" Target="fonts/font31.fntdata"/><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notesMaster" Target="notesMasters/notesMaster1.xml"/><Relationship Id="rId45" Type="http://schemas.openxmlformats.org/officeDocument/2006/relationships/font" Target="fonts/font5.fntdata"/><Relationship Id="rId66" Type="http://schemas.openxmlformats.org/officeDocument/2006/relationships/font" Target="fonts/font26.fntdata"/><Relationship Id="rId87" Type="http://schemas.openxmlformats.org/officeDocument/2006/relationships/font" Target="fonts/font47.fntdata"/><Relationship Id="rId61" Type="http://schemas.openxmlformats.org/officeDocument/2006/relationships/font" Target="fonts/font21.fntdata"/><Relationship Id="rId82" Type="http://schemas.openxmlformats.org/officeDocument/2006/relationships/font" Target="fonts/font42.fntdata"/><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font" Target="fonts/font16.fntdata"/><Relationship Id="rId77" Type="http://schemas.openxmlformats.org/officeDocument/2006/relationships/font" Target="fonts/font37.fntdata"/><Relationship Id="rId8" Type="http://schemas.openxmlformats.org/officeDocument/2006/relationships/slideMaster" Target="slideMasters/slideMaster5.xml"/><Relationship Id="rId51" Type="http://schemas.openxmlformats.org/officeDocument/2006/relationships/font" Target="fonts/font11.fntdata"/><Relationship Id="rId72" Type="http://schemas.openxmlformats.org/officeDocument/2006/relationships/font" Target="fonts/font32.fntdata"/><Relationship Id="rId9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ssi SANE" userId="ea93c24b-dbd9-4d97-a8d9-5bde9d84aa5e" providerId="ADAL" clId="{7841E0CC-1FEA-0B42-88AD-6AE9D88B9FC1}"/>
    <pc:docChg chg="undo custSel addSld delSld modSld">
      <pc:chgData name="Jussi SANE" userId="ea93c24b-dbd9-4d97-a8d9-5bde9d84aa5e" providerId="ADAL" clId="{7841E0CC-1FEA-0B42-88AD-6AE9D88B9FC1}" dt="2022-11-24T08:30:26.292" v="58" actId="1076"/>
      <pc:docMkLst>
        <pc:docMk/>
      </pc:docMkLst>
      <pc:sldChg chg="add del">
        <pc:chgData name="Jussi SANE" userId="ea93c24b-dbd9-4d97-a8d9-5bde9d84aa5e" providerId="ADAL" clId="{7841E0CC-1FEA-0B42-88AD-6AE9D88B9FC1}" dt="2022-11-23T13:51:00.079" v="4"/>
        <pc:sldMkLst>
          <pc:docMk/>
          <pc:sldMk cId="1555667586" sldId="2147375786"/>
        </pc:sldMkLst>
      </pc:sldChg>
      <pc:sldChg chg="modSp">
        <pc:chgData name="Jussi SANE" userId="ea93c24b-dbd9-4d97-a8d9-5bde9d84aa5e" providerId="ADAL" clId="{7841E0CC-1FEA-0B42-88AD-6AE9D88B9FC1}" dt="2022-11-23T13:50:55.934" v="0"/>
        <pc:sldMkLst>
          <pc:docMk/>
          <pc:sldMk cId="768225401" sldId="2147376042"/>
        </pc:sldMkLst>
        <pc:spChg chg="mod">
          <ac:chgData name="Jussi SANE" userId="ea93c24b-dbd9-4d97-a8d9-5bde9d84aa5e" providerId="ADAL" clId="{7841E0CC-1FEA-0B42-88AD-6AE9D88B9FC1}" dt="2022-11-23T13:50:55.934" v="0"/>
          <ac:spMkLst>
            <pc:docMk/>
            <pc:sldMk cId="768225401" sldId="2147376042"/>
            <ac:spMk id="3" creationId="{AC191921-D073-4F0B-9651-2824DD5A8CAD}"/>
          </ac:spMkLst>
        </pc:spChg>
        <pc:spChg chg="mod">
          <ac:chgData name="Jussi SANE" userId="ea93c24b-dbd9-4d97-a8d9-5bde9d84aa5e" providerId="ADAL" clId="{7841E0CC-1FEA-0B42-88AD-6AE9D88B9FC1}" dt="2022-11-23T13:50:55.934" v="0"/>
          <ac:spMkLst>
            <pc:docMk/>
            <pc:sldMk cId="768225401" sldId="2147376042"/>
            <ac:spMk id="4" creationId="{1990A93F-91DA-A044-935A-6FFCAC2F0297}"/>
          </ac:spMkLst>
        </pc:spChg>
        <pc:spChg chg="mod">
          <ac:chgData name="Jussi SANE" userId="ea93c24b-dbd9-4d97-a8d9-5bde9d84aa5e" providerId="ADAL" clId="{7841E0CC-1FEA-0B42-88AD-6AE9D88B9FC1}" dt="2022-11-23T13:50:55.934" v="0"/>
          <ac:spMkLst>
            <pc:docMk/>
            <pc:sldMk cId="768225401" sldId="2147376042"/>
            <ac:spMk id="14" creationId="{C77EDD2F-62F5-42DD-AB67-9E0454CEEF1D}"/>
          </ac:spMkLst>
        </pc:spChg>
        <pc:grpChg chg="mod">
          <ac:chgData name="Jussi SANE" userId="ea93c24b-dbd9-4d97-a8d9-5bde9d84aa5e" providerId="ADAL" clId="{7841E0CC-1FEA-0B42-88AD-6AE9D88B9FC1}" dt="2022-11-23T13:50:55.934" v="0"/>
          <ac:grpSpMkLst>
            <pc:docMk/>
            <pc:sldMk cId="768225401" sldId="2147376042"/>
            <ac:grpSpMk id="1" creationId="{00000000-0000-0000-0000-000000000000}"/>
          </ac:grpSpMkLst>
        </pc:grpChg>
        <pc:graphicFrameChg chg="mod">
          <ac:chgData name="Jussi SANE" userId="ea93c24b-dbd9-4d97-a8d9-5bde9d84aa5e" providerId="ADAL" clId="{7841E0CC-1FEA-0B42-88AD-6AE9D88B9FC1}" dt="2022-11-23T13:50:55.934" v="0"/>
          <ac:graphicFrameMkLst>
            <pc:docMk/>
            <pc:sldMk cId="768225401" sldId="2147376042"/>
            <ac:graphicFrameMk id="2" creationId="{00000000-0000-0000-0000-000000000000}"/>
          </ac:graphicFrameMkLst>
        </pc:graphicFrameChg>
      </pc:sldChg>
      <pc:sldChg chg="modSp">
        <pc:chgData name="Jussi SANE" userId="ea93c24b-dbd9-4d97-a8d9-5bde9d84aa5e" providerId="ADAL" clId="{7841E0CC-1FEA-0B42-88AD-6AE9D88B9FC1}" dt="2022-11-23T13:50:55.934" v="0"/>
        <pc:sldMkLst>
          <pc:docMk/>
          <pc:sldMk cId="664037872" sldId="2147473276"/>
        </pc:sldMkLst>
        <pc:spChg chg="mod">
          <ac:chgData name="Jussi SANE" userId="ea93c24b-dbd9-4d97-a8d9-5bde9d84aa5e" providerId="ADAL" clId="{7841E0CC-1FEA-0B42-88AD-6AE9D88B9FC1}" dt="2022-11-23T13:50:55.934" v="0"/>
          <ac:spMkLst>
            <pc:docMk/>
            <pc:sldMk cId="664037872" sldId="2147473276"/>
            <ac:spMk id="2" creationId="{89D56E6A-A83D-4BA1-8A36-95D778238F3A}"/>
          </ac:spMkLst>
        </pc:spChg>
        <pc:spChg chg="mod">
          <ac:chgData name="Jussi SANE" userId="ea93c24b-dbd9-4d97-a8d9-5bde9d84aa5e" providerId="ADAL" clId="{7841E0CC-1FEA-0B42-88AD-6AE9D88B9FC1}" dt="2022-11-23T13:50:55.934" v="0"/>
          <ac:spMkLst>
            <pc:docMk/>
            <pc:sldMk cId="664037872" sldId="2147473276"/>
            <ac:spMk id="5" creationId="{6ECDFC33-DD76-4162-8248-BA37E1617DDC}"/>
          </ac:spMkLst>
        </pc:spChg>
        <pc:spChg chg="mod">
          <ac:chgData name="Jussi SANE" userId="ea93c24b-dbd9-4d97-a8d9-5bde9d84aa5e" providerId="ADAL" clId="{7841E0CC-1FEA-0B42-88AD-6AE9D88B9FC1}" dt="2022-11-23T13:50:55.934" v="0"/>
          <ac:spMkLst>
            <pc:docMk/>
            <pc:sldMk cId="664037872" sldId="2147473276"/>
            <ac:spMk id="6" creationId="{A18D1C3C-0A1C-4EF8-AC6A-1483B773FDBB}"/>
          </ac:spMkLst>
        </pc:spChg>
        <pc:spChg chg="mod">
          <ac:chgData name="Jussi SANE" userId="ea93c24b-dbd9-4d97-a8d9-5bde9d84aa5e" providerId="ADAL" clId="{7841E0CC-1FEA-0B42-88AD-6AE9D88B9FC1}" dt="2022-11-23T13:50:55.934" v="0"/>
          <ac:spMkLst>
            <pc:docMk/>
            <pc:sldMk cId="664037872" sldId="2147473276"/>
            <ac:spMk id="7" creationId="{5AA09342-459B-414D-953C-27EF6487F62E}"/>
          </ac:spMkLst>
        </pc:spChg>
        <pc:spChg chg="mod">
          <ac:chgData name="Jussi SANE" userId="ea93c24b-dbd9-4d97-a8d9-5bde9d84aa5e" providerId="ADAL" clId="{7841E0CC-1FEA-0B42-88AD-6AE9D88B9FC1}" dt="2022-11-23T13:50:55.934" v="0"/>
          <ac:spMkLst>
            <pc:docMk/>
            <pc:sldMk cId="664037872" sldId="2147473276"/>
            <ac:spMk id="9" creationId="{2659A9D3-342F-41C5-BE8C-A70EB3823776}"/>
          </ac:spMkLst>
        </pc:spChg>
        <pc:spChg chg="mod">
          <ac:chgData name="Jussi SANE" userId="ea93c24b-dbd9-4d97-a8d9-5bde9d84aa5e" providerId="ADAL" clId="{7841E0CC-1FEA-0B42-88AD-6AE9D88B9FC1}" dt="2022-11-23T13:50:55.934" v="0"/>
          <ac:spMkLst>
            <pc:docMk/>
            <pc:sldMk cId="664037872" sldId="2147473276"/>
            <ac:spMk id="10" creationId="{CBA88E76-DBCA-4A2D-97A1-C47894C82A89}"/>
          </ac:spMkLst>
        </pc:spChg>
        <pc:spChg chg="mod">
          <ac:chgData name="Jussi SANE" userId="ea93c24b-dbd9-4d97-a8d9-5bde9d84aa5e" providerId="ADAL" clId="{7841E0CC-1FEA-0B42-88AD-6AE9D88B9FC1}" dt="2022-11-23T13:50:55.934" v="0"/>
          <ac:spMkLst>
            <pc:docMk/>
            <pc:sldMk cId="664037872" sldId="2147473276"/>
            <ac:spMk id="11" creationId="{08D841DE-CB59-4A3F-A7A9-8D34C9E3CA3B}"/>
          </ac:spMkLst>
        </pc:spChg>
        <pc:spChg chg="mod">
          <ac:chgData name="Jussi SANE" userId="ea93c24b-dbd9-4d97-a8d9-5bde9d84aa5e" providerId="ADAL" clId="{7841E0CC-1FEA-0B42-88AD-6AE9D88B9FC1}" dt="2022-11-23T13:50:55.934" v="0"/>
          <ac:spMkLst>
            <pc:docMk/>
            <pc:sldMk cId="664037872" sldId="2147473276"/>
            <ac:spMk id="12" creationId="{067A475D-9C15-49E3-855C-BB96EC1E64EA}"/>
          </ac:spMkLst>
        </pc:spChg>
        <pc:spChg chg="mod">
          <ac:chgData name="Jussi SANE" userId="ea93c24b-dbd9-4d97-a8d9-5bde9d84aa5e" providerId="ADAL" clId="{7841E0CC-1FEA-0B42-88AD-6AE9D88B9FC1}" dt="2022-11-23T13:50:55.934" v="0"/>
          <ac:spMkLst>
            <pc:docMk/>
            <pc:sldMk cId="664037872" sldId="2147473276"/>
            <ac:spMk id="13" creationId="{3216F962-E9A4-43B4-953D-29A091988228}"/>
          </ac:spMkLst>
        </pc:spChg>
        <pc:spChg chg="mod">
          <ac:chgData name="Jussi SANE" userId="ea93c24b-dbd9-4d97-a8d9-5bde9d84aa5e" providerId="ADAL" clId="{7841E0CC-1FEA-0B42-88AD-6AE9D88B9FC1}" dt="2022-11-23T13:50:55.934" v="0"/>
          <ac:spMkLst>
            <pc:docMk/>
            <pc:sldMk cId="664037872" sldId="2147473276"/>
            <ac:spMk id="24" creationId="{7BD04C31-6EDA-4E3A-AAD2-C31D2723F3F2}"/>
          </ac:spMkLst>
        </pc:spChg>
        <pc:spChg chg="mod">
          <ac:chgData name="Jussi SANE" userId="ea93c24b-dbd9-4d97-a8d9-5bde9d84aa5e" providerId="ADAL" clId="{7841E0CC-1FEA-0B42-88AD-6AE9D88B9FC1}" dt="2022-11-23T13:50:55.934" v="0"/>
          <ac:spMkLst>
            <pc:docMk/>
            <pc:sldMk cId="664037872" sldId="2147473276"/>
            <ac:spMk id="25" creationId="{FF33B7C3-F5BC-4B31-8834-22CD36AD1D34}"/>
          </ac:spMkLst>
        </pc:spChg>
        <pc:spChg chg="mod">
          <ac:chgData name="Jussi SANE" userId="ea93c24b-dbd9-4d97-a8d9-5bde9d84aa5e" providerId="ADAL" clId="{7841E0CC-1FEA-0B42-88AD-6AE9D88B9FC1}" dt="2022-11-23T13:50:55.934" v="0"/>
          <ac:spMkLst>
            <pc:docMk/>
            <pc:sldMk cId="664037872" sldId="2147473276"/>
            <ac:spMk id="26" creationId="{25742BEF-2D67-44E5-9B56-199F625D5CCB}"/>
          </ac:spMkLst>
        </pc:spChg>
        <pc:spChg chg="mod">
          <ac:chgData name="Jussi SANE" userId="ea93c24b-dbd9-4d97-a8d9-5bde9d84aa5e" providerId="ADAL" clId="{7841E0CC-1FEA-0B42-88AD-6AE9D88B9FC1}" dt="2022-11-23T13:50:55.934" v="0"/>
          <ac:spMkLst>
            <pc:docMk/>
            <pc:sldMk cId="664037872" sldId="2147473276"/>
            <ac:spMk id="28" creationId="{E246F274-857A-492F-8ADE-8CE400735254}"/>
          </ac:spMkLst>
        </pc:spChg>
        <pc:spChg chg="mod">
          <ac:chgData name="Jussi SANE" userId="ea93c24b-dbd9-4d97-a8d9-5bde9d84aa5e" providerId="ADAL" clId="{7841E0CC-1FEA-0B42-88AD-6AE9D88B9FC1}" dt="2022-11-23T13:50:55.934" v="0"/>
          <ac:spMkLst>
            <pc:docMk/>
            <pc:sldMk cId="664037872" sldId="2147473276"/>
            <ac:spMk id="35" creationId="{971240B7-A0BB-4B2E-83F2-52A1F5FD560B}"/>
          </ac:spMkLst>
        </pc:spChg>
        <pc:grpChg chg="mod">
          <ac:chgData name="Jussi SANE" userId="ea93c24b-dbd9-4d97-a8d9-5bde9d84aa5e" providerId="ADAL" clId="{7841E0CC-1FEA-0B42-88AD-6AE9D88B9FC1}" dt="2022-11-23T13:50:55.934" v="0"/>
          <ac:grpSpMkLst>
            <pc:docMk/>
            <pc:sldMk cId="664037872" sldId="2147473276"/>
            <ac:grpSpMk id="1" creationId="{00000000-0000-0000-0000-000000000000}"/>
          </ac:grpSpMkLst>
        </pc:grpChg>
        <pc:grpChg chg="mod">
          <ac:chgData name="Jussi SANE" userId="ea93c24b-dbd9-4d97-a8d9-5bde9d84aa5e" providerId="ADAL" clId="{7841E0CC-1FEA-0B42-88AD-6AE9D88B9FC1}" dt="2022-11-23T13:50:55.934" v="0"/>
          <ac:grpSpMkLst>
            <pc:docMk/>
            <pc:sldMk cId="664037872" sldId="2147473276"/>
            <ac:grpSpMk id="21" creationId="{C10D074A-2A47-4E32-B8F0-7CB72C314D3B}"/>
          </ac:grpSpMkLst>
        </pc:grpChg>
        <pc:grpChg chg="mod">
          <ac:chgData name="Jussi SANE" userId="ea93c24b-dbd9-4d97-a8d9-5bde9d84aa5e" providerId="ADAL" clId="{7841E0CC-1FEA-0B42-88AD-6AE9D88B9FC1}" dt="2022-11-23T13:50:55.934" v="0"/>
          <ac:grpSpMkLst>
            <pc:docMk/>
            <pc:sldMk cId="664037872" sldId="2147473276"/>
            <ac:grpSpMk id="22" creationId="{C9B997D1-DBA4-43B8-938C-E42B477BDC32}"/>
          </ac:grpSpMkLst>
        </pc:grpChg>
        <pc:grpChg chg="mod">
          <ac:chgData name="Jussi SANE" userId="ea93c24b-dbd9-4d97-a8d9-5bde9d84aa5e" providerId="ADAL" clId="{7841E0CC-1FEA-0B42-88AD-6AE9D88B9FC1}" dt="2022-11-23T13:50:55.934" v="0"/>
          <ac:grpSpMkLst>
            <pc:docMk/>
            <pc:sldMk cId="664037872" sldId="2147473276"/>
            <ac:grpSpMk id="27" creationId="{88920DB3-3008-4473-B5EA-E17D07A540B6}"/>
          </ac:grpSpMkLst>
        </pc:grpChg>
        <pc:graphicFrameChg chg="mod">
          <ac:chgData name="Jussi SANE" userId="ea93c24b-dbd9-4d97-a8d9-5bde9d84aa5e" providerId="ADAL" clId="{7841E0CC-1FEA-0B42-88AD-6AE9D88B9FC1}" dt="2022-11-23T13:50:55.934" v="0"/>
          <ac:graphicFrameMkLst>
            <pc:docMk/>
            <pc:sldMk cId="664037872" sldId="2147473276"/>
            <ac:graphicFrameMk id="4" creationId="{20A75799-1D3D-415F-9B05-24D526DFCB05}"/>
          </ac:graphicFrameMkLst>
        </pc:graphicFrameChg>
      </pc:sldChg>
      <pc:sldChg chg="modSp">
        <pc:chgData name="Jussi SANE" userId="ea93c24b-dbd9-4d97-a8d9-5bde9d84aa5e" providerId="ADAL" clId="{7841E0CC-1FEA-0B42-88AD-6AE9D88B9FC1}" dt="2022-11-23T13:50:55.934" v="0"/>
        <pc:sldMkLst>
          <pc:docMk/>
          <pc:sldMk cId="4250193056" sldId="2147473294"/>
        </pc:sldMkLst>
        <pc:spChg chg="mod">
          <ac:chgData name="Jussi SANE" userId="ea93c24b-dbd9-4d97-a8d9-5bde9d84aa5e" providerId="ADAL" clId="{7841E0CC-1FEA-0B42-88AD-6AE9D88B9FC1}" dt="2022-11-23T13:50:55.934" v="0"/>
          <ac:spMkLst>
            <pc:docMk/>
            <pc:sldMk cId="4250193056" sldId="2147473294"/>
            <ac:spMk id="2" creationId="{77DBFCC3-D204-44A1-98FA-F2D9025A08C6}"/>
          </ac:spMkLst>
        </pc:spChg>
        <pc:spChg chg="mod">
          <ac:chgData name="Jussi SANE" userId="ea93c24b-dbd9-4d97-a8d9-5bde9d84aa5e" providerId="ADAL" clId="{7841E0CC-1FEA-0B42-88AD-6AE9D88B9FC1}" dt="2022-11-23T13:50:55.934" v="0"/>
          <ac:spMkLst>
            <pc:docMk/>
            <pc:sldMk cId="4250193056" sldId="2147473294"/>
            <ac:spMk id="4" creationId="{0BDA5368-DC99-4FFF-8F8D-8D6259ECBC05}"/>
          </ac:spMkLst>
        </pc:spChg>
        <pc:spChg chg="mod">
          <ac:chgData name="Jussi SANE" userId="ea93c24b-dbd9-4d97-a8d9-5bde9d84aa5e" providerId="ADAL" clId="{7841E0CC-1FEA-0B42-88AD-6AE9D88B9FC1}" dt="2022-11-23T13:50:55.934" v="0"/>
          <ac:spMkLst>
            <pc:docMk/>
            <pc:sldMk cId="4250193056" sldId="2147473294"/>
            <ac:spMk id="10" creationId="{70040938-7FF5-46AE-96F2-C9DAFCB89AFC}"/>
          </ac:spMkLst>
        </pc:spChg>
        <pc:spChg chg="mod">
          <ac:chgData name="Jussi SANE" userId="ea93c24b-dbd9-4d97-a8d9-5bde9d84aa5e" providerId="ADAL" clId="{7841E0CC-1FEA-0B42-88AD-6AE9D88B9FC1}" dt="2022-11-23T13:50:55.934" v="0"/>
          <ac:spMkLst>
            <pc:docMk/>
            <pc:sldMk cId="4250193056" sldId="2147473294"/>
            <ac:spMk id="53" creationId="{2820F539-8302-4409-B4C7-D6D3EF7DA466}"/>
          </ac:spMkLst>
        </pc:spChg>
        <pc:spChg chg="mod">
          <ac:chgData name="Jussi SANE" userId="ea93c24b-dbd9-4d97-a8d9-5bde9d84aa5e" providerId="ADAL" clId="{7841E0CC-1FEA-0B42-88AD-6AE9D88B9FC1}" dt="2022-11-23T13:50:55.934" v="0"/>
          <ac:spMkLst>
            <pc:docMk/>
            <pc:sldMk cId="4250193056" sldId="2147473294"/>
            <ac:spMk id="77" creationId="{9AD18895-A8E6-442C-AF23-46CB78B2F40C}"/>
          </ac:spMkLst>
        </pc:spChg>
        <pc:spChg chg="mod">
          <ac:chgData name="Jussi SANE" userId="ea93c24b-dbd9-4d97-a8d9-5bde9d84aa5e" providerId="ADAL" clId="{7841E0CC-1FEA-0B42-88AD-6AE9D88B9FC1}" dt="2022-11-23T13:50:55.934" v="0"/>
          <ac:spMkLst>
            <pc:docMk/>
            <pc:sldMk cId="4250193056" sldId="2147473294"/>
            <ac:spMk id="79" creationId="{EC950A7D-7C40-4A8C-991E-42479BC9A6B0}"/>
          </ac:spMkLst>
        </pc:spChg>
        <pc:spChg chg="mod">
          <ac:chgData name="Jussi SANE" userId="ea93c24b-dbd9-4d97-a8d9-5bde9d84aa5e" providerId="ADAL" clId="{7841E0CC-1FEA-0B42-88AD-6AE9D88B9FC1}" dt="2022-11-23T13:50:55.934" v="0"/>
          <ac:spMkLst>
            <pc:docMk/>
            <pc:sldMk cId="4250193056" sldId="2147473294"/>
            <ac:spMk id="97" creationId="{2172C79B-34D2-4A14-AEEF-BD437ED47AF3}"/>
          </ac:spMkLst>
        </pc:spChg>
        <pc:spChg chg="mod">
          <ac:chgData name="Jussi SANE" userId="ea93c24b-dbd9-4d97-a8d9-5bde9d84aa5e" providerId="ADAL" clId="{7841E0CC-1FEA-0B42-88AD-6AE9D88B9FC1}" dt="2022-11-23T13:50:55.934" v="0"/>
          <ac:spMkLst>
            <pc:docMk/>
            <pc:sldMk cId="4250193056" sldId="2147473294"/>
            <ac:spMk id="102" creationId="{77978686-1610-4471-B16E-6FB15A4FB934}"/>
          </ac:spMkLst>
        </pc:spChg>
        <pc:spChg chg="mod">
          <ac:chgData name="Jussi SANE" userId="ea93c24b-dbd9-4d97-a8d9-5bde9d84aa5e" providerId="ADAL" clId="{7841E0CC-1FEA-0B42-88AD-6AE9D88B9FC1}" dt="2022-11-23T13:50:55.934" v="0"/>
          <ac:spMkLst>
            <pc:docMk/>
            <pc:sldMk cId="4250193056" sldId="2147473294"/>
            <ac:spMk id="103" creationId="{85798E9A-8825-4D10-8246-CA4281B3C229}"/>
          </ac:spMkLst>
        </pc:spChg>
        <pc:spChg chg="mod">
          <ac:chgData name="Jussi SANE" userId="ea93c24b-dbd9-4d97-a8d9-5bde9d84aa5e" providerId="ADAL" clId="{7841E0CC-1FEA-0B42-88AD-6AE9D88B9FC1}" dt="2022-11-23T13:50:55.934" v="0"/>
          <ac:spMkLst>
            <pc:docMk/>
            <pc:sldMk cId="4250193056" sldId="2147473294"/>
            <ac:spMk id="106" creationId="{6FDB5726-5665-4DBF-86DC-5F3DC5ADF0DE}"/>
          </ac:spMkLst>
        </pc:spChg>
        <pc:spChg chg="mod">
          <ac:chgData name="Jussi SANE" userId="ea93c24b-dbd9-4d97-a8d9-5bde9d84aa5e" providerId="ADAL" clId="{7841E0CC-1FEA-0B42-88AD-6AE9D88B9FC1}" dt="2022-11-23T13:50:55.934" v="0"/>
          <ac:spMkLst>
            <pc:docMk/>
            <pc:sldMk cId="4250193056" sldId="2147473294"/>
            <ac:spMk id="107" creationId="{2812F017-C4FA-444F-933A-2169DC585DC0}"/>
          </ac:spMkLst>
        </pc:spChg>
        <pc:spChg chg="mod">
          <ac:chgData name="Jussi SANE" userId="ea93c24b-dbd9-4d97-a8d9-5bde9d84aa5e" providerId="ADAL" clId="{7841E0CC-1FEA-0B42-88AD-6AE9D88B9FC1}" dt="2022-11-23T13:50:55.934" v="0"/>
          <ac:spMkLst>
            <pc:docMk/>
            <pc:sldMk cId="4250193056" sldId="2147473294"/>
            <ac:spMk id="111" creationId="{E1204AC7-2F03-48D9-A87C-FB5CAC14C128}"/>
          </ac:spMkLst>
        </pc:spChg>
        <pc:spChg chg="mod">
          <ac:chgData name="Jussi SANE" userId="ea93c24b-dbd9-4d97-a8d9-5bde9d84aa5e" providerId="ADAL" clId="{7841E0CC-1FEA-0B42-88AD-6AE9D88B9FC1}" dt="2022-11-23T13:50:55.934" v="0"/>
          <ac:spMkLst>
            <pc:docMk/>
            <pc:sldMk cId="4250193056" sldId="2147473294"/>
            <ac:spMk id="112" creationId="{C9C6CF49-8FB8-44C1-A297-5BD0C29EE268}"/>
          </ac:spMkLst>
        </pc:spChg>
        <pc:spChg chg="mod">
          <ac:chgData name="Jussi SANE" userId="ea93c24b-dbd9-4d97-a8d9-5bde9d84aa5e" providerId="ADAL" clId="{7841E0CC-1FEA-0B42-88AD-6AE9D88B9FC1}" dt="2022-11-23T13:50:55.934" v="0"/>
          <ac:spMkLst>
            <pc:docMk/>
            <pc:sldMk cId="4250193056" sldId="2147473294"/>
            <ac:spMk id="113" creationId="{E3DE198B-86DE-44B0-AC33-CF39591F422C}"/>
          </ac:spMkLst>
        </pc:spChg>
        <pc:spChg chg="mod">
          <ac:chgData name="Jussi SANE" userId="ea93c24b-dbd9-4d97-a8d9-5bde9d84aa5e" providerId="ADAL" clId="{7841E0CC-1FEA-0B42-88AD-6AE9D88B9FC1}" dt="2022-11-23T13:50:55.934" v="0"/>
          <ac:spMkLst>
            <pc:docMk/>
            <pc:sldMk cId="4250193056" sldId="2147473294"/>
            <ac:spMk id="114" creationId="{7ABEECB2-9C37-4BF3-A320-0B1E48059486}"/>
          </ac:spMkLst>
        </pc:spChg>
        <pc:grpChg chg="mod">
          <ac:chgData name="Jussi SANE" userId="ea93c24b-dbd9-4d97-a8d9-5bde9d84aa5e" providerId="ADAL" clId="{7841E0CC-1FEA-0B42-88AD-6AE9D88B9FC1}" dt="2022-11-23T13:50:55.934" v="0"/>
          <ac:grpSpMkLst>
            <pc:docMk/>
            <pc:sldMk cId="4250193056" sldId="2147473294"/>
            <ac:grpSpMk id="1" creationId="{00000000-0000-0000-0000-000000000000}"/>
          </ac:grpSpMkLst>
        </pc:grpChg>
        <pc:grpChg chg="mod">
          <ac:chgData name="Jussi SANE" userId="ea93c24b-dbd9-4d97-a8d9-5bde9d84aa5e" providerId="ADAL" clId="{7841E0CC-1FEA-0B42-88AD-6AE9D88B9FC1}" dt="2022-11-23T13:50:55.934" v="0"/>
          <ac:grpSpMkLst>
            <pc:docMk/>
            <pc:sldMk cId="4250193056" sldId="2147473294"/>
            <ac:grpSpMk id="6" creationId="{A29CB53D-FBDC-4CC2-9D38-D260066CFEAB}"/>
          </ac:grpSpMkLst>
        </pc:grpChg>
        <pc:grpChg chg="mod">
          <ac:chgData name="Jussi SANE" userId="ea93c24b-dbd9-4d97-a8d9-5bde9d84aa5e" providerId="ADAL" clId="{7841E0CC-1FEA-0B42-88AD-6AE9D88B9FC1}" dt="2022-11-23T13:50:55.934" v="0"/>
          <ac:grpSpMkLst>
            <pc:docMk/>
            <pc:sldMk cId="4250193056" sldId="2147473294"/>
            <ac:grpSpMk id="7" creationId="{BA1F90F8-3CD2-4324-91D7-39E872F7665F}"/>
          </ac:grpSpMkLst>
        </pc:grpChg>
        <pc:grpChg chg="mod">
          <ac:chgData name="Jussi SANE" userId="ea93c24b-dbd9-4d97-a8d9-5bde9d84aa5e" providerId="ADAL" clId="{7841E0CC-1FEA-0B42-88AD-6AE9D88B9FC1}" dt="2022-11-23T13:50:55.934" v="0"/>
          <ac:grpSpMkLst>
            <pc:docMk/>
            <pc:sldMk cId="4250193056" sldId="2147473294"/>
            <ac:grpSpMk id="70" creationId="{3066DB5A-ED78-4D6E-BDE6-E8841B9EE09D}"/>
          </ac:grpSpMkLst>
        </pc:grpChg>
        <pc:grpChg chg="mod">
          <ac:chgData name="Jussi SANE" userId="ea93c24b-dbd9-4d97-a8d9-5bde9d84aa5e" providerId="ADAL" clId="{7841E0CC-1FEA-0B42-88AD-6AE9D88B9FC1}" dt="2022-11-23T13:50:55.934" v="0"/>
          <ac:grpSpMkLst>
            <pc:docMk/>
            <pc:sldMk cId="4250193056" sldId="2147473294"/>
            <ac:grpSpMk id="110" creationId="{7C879D45-0793-4F23-A4AB-F8F09A261383}"/>
          </ac:grpSpMkLst>
        </pc:grpChg>
        <pc:graphicFrameChg chg="mod">
          <ac:chgData name="Jussi SANE" userId="ea93c24b-dbd9-4d97-a8d9-5bde9d84aa5e" providerId="ADAL" clId="{7841E0CC-1FEA-0B42-88AD-6AE9D88B9FC1}" dt="2022-11-23T13:50:55.934" v="0"/>
          <ac:graphicFrameMkLst>
            <pc:docMk/>
            <pc:sldMk cId="4250193056" sldId="2147473294"/>
            <ac:graphicFrameMk id="5" creationId="{0B52C5AC-330D-4BC7-985E-A3F294E95E6C}"/>
          </ac:graphicFrameMkLst>
        </pc:graphicFrameChg>
        <pc:cxnChg chg="mod">
          <ac:chgData name="Jussi SANE" userId="ea93c24b-dbd9-4d97-a8d9-5bde9d84aa5e" providerId="ADAL" clId="{7841E0CC-1FEA-0B42-88AD-6AE9D88B9FC1}" dt="2022-11-23T13:50:55.934" v="0"/>
          <ac:cxnSpMkLst>
            <pc:docMk/>
            <pc:sldMk cId="4250193056" sldId="2147473294"/>
            <ac:cxnSpMk id="71" creationId="{10E5555D-D6CC-4539-8790-C29CC4C1C69E}"/>
          </ac:cxnSpMkLst>
        </pc:cxnChg>
        <pc:cxnChg chg="mod">
          <ac:chgData name="Jussi SANE" userId="ea93c24b-dbd9-4d97-a8d9-5bde9d84aa5e" providerId="ADAL" clId="{7841E0CC-1FEA-0B42-88AD-6AE9D88B9FC1}" dt="2022-11-23T13:50:55.934" v="0"/>
          <ac:cxnSpMkLst>
            <pc:docMk/>
            <pc:sldMk cId="4250193056" sldId="2147473294"/>
            <ac:cxnSpMk id="75" creationId="{75E36584-6605-4EBD-AB8A-2A1BC0623D99}"/>
          </ac:cxnSpMkLst>
        </pc:cxnChg>
        <pc:cxnChg chg="mod">
          <ac:chgData name="Jussi SANE" userId="ea93c24b-dbd9-4d97-a8d9-5bde9d84aa5e" providerId="ADAL" clId="{7841E0CC-1FEA-0B42-88AD-6AE9D88B9FC1}" dt="2022-11-23T13:50:55.934" v="0"/>
          <ac:cxnSpMkLst>
            <pc:docMk/>
            <pc:sldMk cId="4250193056" sldId="2147473294"/>
            <ac:cxnSpMk id="82" creationId="{33F73EDC-2BBD-44F2-AC65-ED2D708F57DA}"/>
          </ac:cxnSpMkLst>
        </pc:cxnChg>
        <pc:cxnChg chg="mod">
          <ac:chgData name="Jussi SANE" userId="ea93c24b-dbd9-4d97-a8d9-5bde9d84aa5e" providerId="ADAL" clId="{7841E0CC-1FEA-0B42-88AD-6AE9D88B9FC1}" dt="2022-11-23T13:50:55.934" v="0"/>
          <ac:cxnSpMkLst>
            <pc:docMk/>
            <pc:sldMk cId="4250193056" sldId="2147473294"/>
            <ac:cxnSpMk id="83" creationId="{7CB12665-068F-4D48-8731-82EE7A266739}"/>
          </ac:cxnSpMkLst>
        </pc:cxnChg>
        <pc:cxnChg chg="mod">
          <ac:chgData name="Jussi SANE" userId="ea93c24b-dbd9-4d97-a8d9-5bde9d84aa5e" providerId="ADAL" clId="{7841E0CC-1FEA-0B42-88AD-6AE9D88B9FC1}" dt="2022-11-23T13:50:55.934" v="0"/>
          <ac:cxnSpMkLst>
            <pc:docMk/>
            <pc:sldMk cId="4250193056" sldId="2147473294"/>
            <ac:cxnSpMk id="87" creationId="{E56249D0-4F8A-4A0B-AA9D-BC179F7B4459}"/>
          </ac:cxnSpMkLst>
        </pc:cxnChg>
        <pc:cxnChg chg="mod">
          <ac:chgData name="Jussi SANE" userId="ea93c24b-dbd9-4d97-a8d9-5bde9d84aa5e" providerId="ADAL" clId="{7841E0CC-1FEA-0B42-88AD-6AE9D88B9FC1}" dt="2022-11-23T13:50:55.934" v="0"/>
          <ac:cxnSpMkLst>
            <pc:docMk/>
            <pc:sldMk cId="4250193056" sldId="2147473294"/>
            <ac:cxnSpMk id="94" creationId="{6C3D3641-8B6D-4B38-87FA-E8953911129D}"/>
          </ac:cxnSpMkLst>
        </pc:cxnChg>
      </pc:sldChg>
      <pc:sldChg chg="modSp add">
        <pc:chgData name="Jussi SANE" userId="ea93c24b-dbd9-4d97-a8d9-5bde9d84aa5e" providerId="ADAL" clId="{7841E0CC-1FEA-0B42-88AD-6AE9D88B9FC1}" dt="2022-11-24T08:30:26.292" v="58" actId="1076"/>
        <pc:sldMkLst>
          <pc:docMk/>
          <pc:sldMk cId="2150929915" sldId="2147473296"/>
        </pc:sldMkLst>
        <pc:spChg chg="mod">
          <ac:chgData name="Jussi SANE" userId="ea93c24b-dbd9-4d97-a8d9-5bde9d84aa5e" providerId="ADAL" clId="{7841E0CC-1FEA-0B42-88AD-6AE9D88B9FC1}" dt="2022-11-23T13:50:55.934" v="0"/>
          <ac:spMkLst>
            <pc:docMk/>
            <pc:sldMk cId="2150929915" sldId="2147473296"/>
            <ac:spMk id="2" creationId="{43A0CDE8-1AE1-4E1C-AADD-7CCCD90CEFD4}"/>
          </ac:spMkLst>
        </pc:spChg>
        <pc:spChg chg="mod">
          <ac:chgData name="Jussi SANE" userId="ea93c24b-dbd9-4d97-a8d9-5bde9d84aa5e" providerId="ADAL" clId="{7841E0CC-1FEA-0B42-88AD-6AE9D88B9FC1}" dt="2022-11-23T13:50:55.934" v="0"/>
          <ac:spMkLst>
            <pc:docMk/>
            <pc:sldMk cId="2150929915" sldId="2147473296"/>
            <ac:spMk id="22" creationId="{CC7D3348-C76F-4BBF-8CDF-11A027E52792}"/>
          </ac:spMkLst>
        </pc:spChg>
        <pc:spChg chg="mod">
          <ac:chgData name="Jussi SANE" userId="ea93c24b-dbd9-4d97-a8d9-5bde9d84aa5e" providerId="ADAL" clId="{7841E0CC-1FEA-0B42-88AD-6AE9D88B9FC1}" dt="2022-11-23T13:50:55.934" v="0"/>
          <ac:spMkLst>
            <pc:docMk/>
            <pc:sldMk cId="2150929915" sldId="2147473296"/>
            <ac:spMk id="23" creationId="{D36BC0B2-88F6-45BC-9DF0-9006ACA3376D}"/>
          </ac:spMkLst>
        </pc:spChg>
        <pc:spChg chg="mod">
          <ac:chgData name="Jussi SANE" userId="ea93c24b-dbd9-4d97-a8d9-5bde9d84aa5e" providerId="ADAL" clId="{7841E0CC-1FEA-0B42-88AD-6AE9D88B9FC1}" dt="2022-11-23T13:50:55.934" v="0"/>
          <ac:spMkLst>
            <pc:docMk/>
            <pc:sldMk cId="2150929915" sldId="2147473296"/>
            <ac:spMk id="25" creationId="{DE6DC217-DB32-4709-8353-2363054A4EC1}"/>
          </ac:spMkLst>
        </pc:spChg>
        <pc:spChg chg="mod">
          <ac:chgData name="Jussi SANE" userId="ea93c24b-dbd9-4d97-a8d9-5bde9d84aa5e" providerId="ADAL" clId="{7841E0CC-1FEA-0B42-88AD-6AE9D88B9FC1}" dt="2022-11-23T13:50:55.934" v="0"/>
          <ac:spMkLst>
            <pc:docMk/>
            <pc:sldMk cId="2150929915" sldId="2147473296"/>
            <ac:spMk id="26" creationId="{D59EC92E-C2E9-489F-8E3F-13D6C1EF3DE2}"/>
          </ac:spMkLst>
        </pc:spChg>
        <pc:spChg chg="mod">
          <ac:chgData name="Jussi SANE" userId="ea93c24b-dbd9-4d97-a8d9-5bde9d84aa5e" providerId="ADAL" clId="{7841E0CC-1FEA-0B42-88AD-6AE9D88B9FC1}" dt="2022-11-23T13:50:55.934" v="0"/>
          <ac:spMkLst>
            <pc:docMk/>
            <pc:sldMk cId="2150929915" sldId="2147473296"/>
            <ac:spMk id="27" creationId="{25D10EB8-048E-4EB9-81E4-B98BFB50E5C1}"/>
          </ac:spMkLst>
        </pc:spChg>
        <pc:spChg chg="mod">
          <ac:chgData name="Jussi SANE" userId="ea93c24b-dbd9-4d97-a8d9-5bde9d84aa5e" providerId="ADAL" clId="{7841E0CC-1FEA-0B42-88AD-6AE9D88B9FC1}" dt="2022-11-23T13:50:55.934" v="0"/>
          <ac:spMkLst>
            <pc:docMk/>
            <pc:sldMk cId="2150929915" sldId="2147473296"/>
            <ac:spMk id="32" creationId="{02FB79FA-6B51-4EE9-A8BA-B95B0099F814}"/>
          </ac:spMkLst>
        </pc:spChg>
        <pc:spChg chg="mod">
          <ac:chgData name="Jussi SANE" userId="ea93c24b-dbd9-4d97-a8d9-5bde9d84aa5e" providerId="ADAL" clId="{7841E0CC-1FEA-0B42-88AD-6AE9D88B9FC1}" dt="2022-11-23T13:50:55.934" v="0"/>
          <ac:spMkLst>
            <pc:docMk/>
            <pc:sldMk cId="2150929915" sldId="2147473296"/>
            <ac:spMk id="33" creationId="{669E3D01-D3C9-45AD-A437-CD114337326F}"/>
          </ac:spMkLst>
        </pc:spChg>
        <pc:spChg chg="mod">
          <ac:chgData name="Jussi SANE" userId="ea93c24b-dbd9-4d97-a8d9-5bde9d84aa5e" providerId="ADAL" clId="{7841E0CC-1FEA-0B42-88AD-6AE9D88B9FC1}" dt="2022-11-23T13:50:55.934" v="0"/>
          <ac:spMkLst>
            <pc:docMk/>
            <pc:sldMk cId="2150929915" sldId="2147473296"/>
            <ac:spMk id="34" creationId="{2F6EF038-A622-4619-85FA-4241ADB5E7F9}"/>
          </ac:spMkLst>
        </pc:spChg>
        <pc:spChg chg="mod">
          <ac:chgData name="Jussi SANE" userId="ea93c24b-dbd9-4d97-a8d9-5bde9d84aa5e" providerId="ADAL" clId="{7841E0CC-1FEA-0B42-88AD-6AE9D88B9FC1}" dt="2022-11-23T13:50:55.934" v="0"/>
          <ac:spMkLst>
            <pc:docMk/>
            <pc:sldMk cId="2150929915" sldId="2147473296"/>
            <ac:spMk id="35" creationId="{974226C4-4129-4C0E-BD8B-942A5749277D}"/>
          </ac:spMkLst>
        </pc:spChg>
        <pc:spChg chg="mod">
          <ac:chgData name="Jussi SANE" userId="ea93c24b-dbd9-4d97-a8d9-5bde9d84aa5e" providerId="ADAL" clId="{7841E0CC-1FEA-0B42-88AD-6AE9D88B9FC1}" dt="2022-11-23T13:50:55.934" v="0"/>
          <ac:spMkLst>
            <pc:docMk/>
            <pc:sldMk cId="2150929915" sldId="2147473296"/>
            <ac:spMk id="41" creationId="{83A6A253-39B4-417C-85BD-28810C37EA6C}"/>
          </ac:spMkLst>
        </pc:spChg>
        <pc:spChg chg="mod">
          <ac:chgData name="Jussi SANE" userId="ea93c24b-dbd9-4d97-a8d9-5bde9d84aa5e" providerId="ADAL" clId="{7841E0CC-1FEA-0B42-88AD-6AE9D88B9FC1}" dt="2022-11-23T13:50:55.934" v="0"/>
          <ac:spMkLst>
            <pc:docMk/>
            <pc:sldMk cId="2150929915" sldId="2147473296"/>
            <ac:spMk id="43" creationId="{58D11ADF-B777-452B-8CAC-39D1412F10E2}"/>
          </ac:spMkLst>
        </pc:spChg>
        <pc:spChg chg="mod">
          <ac:chgData name="Jussi SANE" userId="ea93c24b-dbd9-4d97-a8d9-5bde9d84aa5e" providerId="ADAL" clId="{7841E0CC-1FEA-0B42-88AD-6AE9D88B9FC1}" dt="2022-11-23T13:50:55.934" v="0"/>
          <ac:spMkLst>
            <pc:docMk/>
            <pc:sldMk cId="2150929915" sldId="2147473296"/>
            <ac:spMk id="47" creationId="{727CAF07-DED9-4609-AEC5-8D55ED4C6A2D}"/>
          </ac:spMkLst>
        </pc:spChg>
        <pc:spChg chg="mod">
          <ac:chgData name="Jussi SANE" userId="ea93c24b-dbd9-4d97-a8d9-5bde9d84aa5e" providerId="ADAL" clId="{7841E0CC-1FEA-0B42-88AD-6AE9D88B9FC1}" dt="2022-11-23T13:50:55.934" v="0"/>
          <ac:spMkLst>
            <pc:docMk/>
            <pc:sldMk cId="2150929915" sldId="2147473296"/>
            <ac:spMk id="49" creationId="{10511B99-0C83-4692-A919-F31D4F38098A}"/>
          </ac:spMkLst>
        </pc:spChg>
        <pc:spChg chg="mod">
          <ac:chgData name="Jussi SANE" userId="ea93c24b-dbd9-4d97-a8d9-5bde9d84aa5e" providerId="ADAL" clId="{7841E0CC-1FEA-0B42-88AD-6AE9D88B9FC1}" dt="2022-11-24T08:30:26.292" v="58" actId="1076"/>
          <ac:spMkLst>
            <pc:docMk/>
            <pc:sldMk cId="2150929915" sldId="2147473296"/>
            <ac:spMk id="81" creationId="{7B6A0491-DFF8-4824-8A0F-85E47F20432C}"/>
          </ac:spMkLst>
        </pc:spChg>
        <pc:spChg chg="mod">
          <ac:chgData name="Jussi SANE" userId="ea93c24b-dbd9-4d97-a8d9-5bde9d84aa5e" providerId="ADAL" clId="{7841E0CC-1FEA-0B42-88AD-6AE9D88B9FC1}" dt="2022-11-23T13:50:55.934" v="0"/>
          <ac:spMkLst>
            <pc:docMk/>
            <pc:sldMk cId="2150929915" sldId="2147473296"/>
            <ac:spMk id="95" creationId="{B19B2C76-2746-49A4-83DC-3ED63FDDA3FA}"/>
          </ac:spMkLst>
        </pc:spChg>
        <pc:grpChg chg="mod">
          <ac:chgData name="Jussi SANE" userId="ea93c24b-dbd9-4d97-a8d9-5bde9d84aa5e" providerId="ADAL" clId="{7841E0CC-1FEA-0B42-88AD-6AE9D88B9FC1}" dt="2022-11-23T13:50:55.934" v="0"/>
          <ac:grpSpMkLst>
            <pc:docMk/>
            <pc:sldMk cId="2150929915" sldId="2147473296"/>
            <ac:grpSpMk id="1" creationId="{00000000-0000-0000-0000-000000000000}"/>
          </ac:grpSpMkLst>
        </pc:grpChg>
        <pc:grpChg chg="mod">
          <ac:chgData name="Jussi SANE" userId="ea93c24b-dbd9-4d97-a8d9-5bde9d84aa5e" providerId="ADAL" clId="{7841E0CC-1FEA-0B42-88AD-6AE9D88B9FC1}" dt="2022-11-23T13:50:55.934" v="0"/>
          <ac:grpSpMkLst>
            <pc:docMk/>
            <pc:sldMk cId="2150929915" sldId="2147473296"/>
            <ac:grpSpMk id="3" creationId="{DF78E36F-4CE6-44DB-B3C2-C5FC32A3BF1A}"/>
          </ac:grpSpMkLst>
        </pc:grpChg>
        <pc:graphicFrameChg chg="mod">
          <ac:chgData name="Jussi SANE" userId="ea93c24b-dbd9-4d97-a8d9-5bde9d84aa5e" providerId="ADAL" clId="{7841E0CC-1FEA-0B42-88AD-6AE9D88B9FC1}" dt="2022-11-23T13:50:55.934" v="0"/>
          <ac:graphicFrameMkLst>
            <pc:docMk/>
            <pc:sldMk cId="2150929915" sldId="2147473296"/>
            <ac:graphicFrameMk id="4" creationId="{09B5CF1E-78FF-49F8-9586-307515372D72}"/>
          </ac:graphicFrameMkLst>
        </pc:graphicFrameChg>
        <pc:cxnChg chg="mod">
          <ac:chgData name="Jussi SANE" userId="ea93c24b-dbd9-4d97-a8d9-5bde9d84aa5e" providerId="ADAL" clId="{7841E0CC-1FEA-0B42-88AD-6AE9D88B9FC1}" dt="2022-11-23T13:50:55.934" v="0"/>
          <ac:cxnSpMkLst>
            <pc:docMk/>
            <pc:sldMk cId="2150929915" sldId="2147473296"/>
            <ac:cxnSpMk id="51" creationId="{4C9F1A92-A32A-4547-B3AF-3CF9E2F8E1E0}"/>
          </ac:cxnSpMkLst>
        </pc:cxnChg>
        <pc:cxnChg chg="mod">
          <ac:chgData name="Jussi SANE" userId="ea93c24b-dbd9-4d97-a8d9-5bde9d84aa5e" providerId="ADAL" clId="{7841E0CC-1FEA-0B42-88AD-6AE9D88B9FC1}" dt="2022-11-23T13:50:55.934" v="0"/>
          <ac:cxnSpMkLst>
            <pc:docMk/>
            <pc:sldMk cId="2150929915" sldId="2147473296"/>
            <ac:cxnSpMk id="52" creationId="{6F5811FE-045E-4780-9FB1-570F0A9147FA}"/>
          </ac:cxnSpMkLst>
        </pc:cxnChg>
        <pc:cxnChg chg="mod">
          <ac:chgData name="Jussi SANE" userId="ea93c24b-dbd9-4d97-a8d9-5bde9d84aa5e" providerId="ADAL" clId="{7841E0CC-1FEA-0B42-88AD-6AE9D88B9FC1}" dt="2022-11-23T13:50:55.934" v="0"/>
          <ac:cxnSpMkLst>
            <pc:docMk/>
            <pc:sldMk cId="2150929915" sldId="2147473296"/>
            <ac:cxnSpMk id="58" creationId="{7D63357E-875A-4F8A-B89E-2E7F80EA6A48}"/>
          </ac:cxnSpMkLst>
        </pc:cxnChg>
        <pc:cxnChg chg="mod">
          <ac:chgData name="Jussi SANE" userId="ea93c24b-dbd9-4d97-a8d9-5bde9d84aa5e" providerId="ADAL" clId="{7841E0CC-1FEA-0B42-88AD-6AE9D88B9FC1}" dt="2022-11-23T13:50:55.934" v="0"/>
          <ac:cxnSpMkLst>
            <pc:docMk/>
            <pc:sldMk cId="2150929915" sldId="2147473296"/>
            <ac:cxnSpMk id="59" creationId="{31B033AC-26BF-4B55-AAE3-461EE811D35D}"/>
          </ac:cxnSpMkLst>
        </pc:cxnChg>
        <pc:cxnChg chg="mod">
          <ac:chgData name="Jussi SANE" userId="ea93c24b-dbd9-4d97-a8d9-5bde9d84aa5e" providerId="ADAL" clId="{7841E0CC-1FEA-0B42-88AD-6AE9D88B9FC1}" dt="2022-11-23T13:50:55.934" v="0"/>
          <ac:cxnSpMkLst>
            <pc:docMk/>
            <pc:sldMk cId="2150929915" sldId="2147473296"/>
            <ac:cxnSpMk id="67" creationId="{9C1E52A0-2A8C-452F-8921-53D0D68397AD}"/>
          </ac:cxnSpMkLst>
        </pc:cxnChg>
        <pc:cxnChg chg="mod">
          <ac:chgData name="Jussi SANE" userId="ea93c24b-dbd9-4d97-a8d9-5bde9d84aa5e" providerId="ADAL" clId="{7841E0CC-1FEA-0B42-88AD-6AE9D88B9FC1}" dt="2022-11-23T13:50:55.934" v="0"/>
          <ac:cxnSpMkLst>
            <pc:docMk/>
            <pc:sldMk cId="2150929915" sldId="2147473296"/>
            <ac:cxnSpMk id="69" creationId="{DA547FE1-D866-419E-86FE-C8558110015C}"/>
          </ac:cxnSpMkLst>
        </pc:cxnChg>
        <pc:cxnChg chg="mod">
          <ac:chgData name="Jussi SANE" userId="ea93c24b-dbd9-4d97-a8d9-5bde9d84aa5e" providerId="ADAL" clId="{7841E0CC-1FEA-0B42-88AD-6AE9D88B9FC1}" dt="2022-11-23T13:50:55.934" v="0"/>
          <ac:cxnSpMkLst>
            <pc:docMk/>
            <pc:sldMk cId="2150929915" sldId="2147473296"/>
            <ac:cxnSpMk id="72" creationId="{3C081969-5E59-415A-B1AC-F2F10377219E}"/>
          </ac:cxnSpMkLst>
        </pc:cxnChg>
        <pc:cxnChg chg="mod">
          <ac:chgData name="Jussi SANE" userId="ea93c24b-dbd9-4d97-a8d9-5bde9d84aa5e" providerId="ADAL" clId="{7841E0CC-1FEA-0B42-88AD-6AE9D88B9FC1}" dt="2022-11-23T13:50:55.934" v="0"/>
          <ac:cxnSpMkLst>
            <pc:docMk/>
            <pc:sldMk cId="2150929915" sldId="2147473296"/>
            <ac:cxnSpMk id="73" creationId="{4B3B04DE-9875-4859-8A5F-736F45CEF8BD}"/>
          </ac:cxnSpMkLst>
        </pc:cxnChg>
        <pc:cxnChg chg="mod">
          <ac:chgData name="Jussi SANE" userId="ea93c24b-dbd9-4d97-a8d9-5bde9d84aa5e" providerId="ADAL" clId="{7841E0CC-1FEA-0B42-88AD-6AE9D88B9FC1}" dt="2022-11-23T13:50:55.934" v="0"/>
          <ac:cxnSpMkLst>
            <pc:docMk/>
            <pc:sldMk cId="2150929915" sldId="2147473296"/>
            <ac:cxnSpMk id="88" creationId="{B4EE9CD6-45C1-4FD8-A258-F565C72F3011}"/>
          </ac:cxnSpMkLst>
        </pc:cxnChg>
        <pc:cxnChg chg="mod">
          <ac:chgData name="Jussi SANE" userId="ea93c24b-dbd9-4d97-a8d9-5bde9d84aa5e" providerId="ADAL" clId="{7841E0CC-1FEA-0B42-88AD-6AE9D88B9FC1}" dt="2022-11-23T13:50:55.934" v="0"/>
          <ac:cxnSpMkLst>
            <pc:docMk/>
            <pc:sldMk cId="2150929915" sldId="2147473296"/>
            <ac:cxnSpMk id="91" creationId="{BF99F9C3-E52E-473A-B2E4-2B6B18AAE4AD}"/>
          </ac:cxnSpMkLst>
        </pc:cxnChg>
      </pc:sldChg>
      <pc:sldChg chg="modSp">
        <pc:chgData name="Jussi SANE" userId="ea93c24b-dbd9-4d97-a8d9-5bde9d84aa5e" providerId="ADAL" clId="{7841E0CC-1FEA-0B42-88AD-6AE9D88B9FC1}" dt="2022-11-23T13:50:55.934" v="0"/>
        <pc:sldMkLst>
          <pc:docMk/>
          <pc:sldMk cId="2878435808" sldId="2147473306"/>
        </pc:sldMkLst>
        <pc:spChg chg="mod">
          <ac:chgData name="Jussi SANE" userId="ea93c24b-dbd9-4d97-a8d9-5bde9d84aa5e" providerId="ADAL" clId="{7841E0CC-1FEA-0B42-88AD-6AE9D88B9FC1}" dt="2022-11-23T13:50:55.934" v="0"/>
          <ac:spMkLst>
            <pc:docMk/>
            <pc:sldMk cId="2878435808" sldId="2147473306"/>
            <ac:spMk id="2" creationId="{77DBFCC3-D204-44A1-98FA-F2D9025A08C6}"/>
          </ac:spMkLst>
        </pc:spChg>
        <pc:spChg chg="mod">
          <ac:chgData name="Jussi SANE" userId="ea93c24b-dbd9-4d97-a8d9-5bde9d84aa5e" providerId="ADAL" clId="{7841E0CC-1FEA-0B42-88AD-6AE9D88B9FC1}" dt="2022-11-23T13:50:55.934" v="0"/>
          <ac:spMkLst>
            <pc:docMk/>
            <pc:sldMk cId="2878435808" sldId="2147473306"/>
            <ac:spMk id="13" creationId="{E25F66C3-3EA0-4E35-A9A0-6AB840C1F909}"/>
          </ac:spMkLst>
        </pc:spChg>
        <pc:spChg chg="mod">
          <ac:chgData name="Jussi SANE" userId="ea93c24b-dbd9-4d97-a8d9-5bde9d84aa5e" providerId="ADAL" clId="{7841E0CC-1FEA-0B42-88AD-6AE9D88B9FC1}" dt="2022-11-23T13:50:55.934" v="0"/>
          <ac:spMkLst>
            <pc:docMk/>
            <pc:sldMk cId="2878435808" sldId="2147473306"/>
            <ac:spMk id="14" creationId="{C48129D4-E8A6-4E9C-B73A-7A408C275376}"/>
          </ac:spMkLst>
        </pc:spChg>
        <pc:spChg chg="mod">
          <ac:chgData name="Jussi SANE" userId="ea93c24b-dbd9-4d97-a8d9-5bde9d84aa5e" providerId="ADAL" clId="{7841E0CC-1FEA-0B42-88AD-6AE9D88B9FC1}" dt="2022-11-23T13:50:55.934" v="0"/>
          <ac:spMkLst>
            <pc:docMk/>
            <pc:sldMk cId="2878435808" sldId="2147473306"/>
            <ac:spMk id="36" creationId="{DB81EAA4-E3DD-424D-8561-868412DF1E46}"/>
          </ac:spMkLst>
        </pc:spChg>
        <pc:spChg chg="mod">
          <ac:chgData name="Jussi SANE" userId="ea93c24b-dbd9-4d97-a8d9-5bde9d84aa5e" providerId="ADAL" clId="{7841E0CC-1FEA-0B42-88AD-6AE9D88B9FC1}" dt="2022-11-23T13:50:55.934" v="0"/>
          <ac:spMkLst>
            <pc:docMk/>
            <pc:sldMk cId="2878435808" sldId="2147473306"/>
            <ac:spMk id="39" creationId="{1DF3BF37-FCBC-4E08-B797-9BC58D2D0EF6}"/>
          </ac:spMkLst>
        </pc:spChg>
        <pc:spChg chg="mod">
          <ac:chgData name="Jussi SANE" userId="ea93c24b-dbd9-4d97-a8d9-5bde9d84aa5e" providerId="ADAL" clId="{7841E0CC-1FEA-0B42-88AD-6AE9D88B9FC1}" dt="2022-11-23T13:50:55.934" v="0"/>
          <ac:spMkLst>
            <pc:docMk/>
            <pc:sldMk cId="2878435808" sldId="2147473306"/>
            <ac:spMk id="41" creationId="{AF22A45E-E125-469D-82AD-1C8D703F8E03}"/>
          </ac:spMkLst>
        </pc:spChg>
        <pc:spChg chg="mod">
          <ac:chgData name="Jussi SANE" userId="ea93c24b-dbd9-4d97-a8d9-5bde9d84aa5e" providerId="ADAL" clId="{7841E0CC-1FEA-0B42-88AD-6AE9D88B9FC1}" dt="2022-11-23T13:50:55.934" v="0"/>
          <ac:spMkLst>
            <pc:docMk/>
            <pc:sldMk cId="2878435808" sldId="2147473306"/>
            <ac:spMk id="42" creationId="{B48C7D31-CA69-4153-8E46-9EA4502D37B6}"/>
          </ac:spMkLst>
        </pc:spChg>
        <pc:spChg chg="mod">
          <ac:chgData name="Jussi SANE" userId="ea93c24b-dbd9-4d97-a8d9-5bde9d84aa5e" providerId="ADAL" clId="{7841E0CC-1FEA-0B42-88AD-6AE9D88B9FC1}" dt="2022-11-23T13:50:55.934" v="0"/>
          <ac:spMkLst>
            <pc:docMk/>
            <pc:sldMk cId="2878435808" sldId="2147473306"/>
            <ac:spMk id="43" creationId="{D655D5CA-8718-4E37-82CF-9B6C41DD63F6}"/>
          </ac:spMkLst>
        </pc:spChg>
        <pc:spChg chg="mod">
          <ac:chgData name="Jussi SANE" userId="ea93c24b-dbd9-4d97-a8d9-5bde9d84aa5e" providerId="ADAL" clId="{7841E0CC-1FEA-0B42-88AD-6AE9D88B9FC1}" dt="2022-11-23T13:50:55.934" v="0"/>
          <ac:spMkLst>
            <pc:docMk/>
            <pc:sldMk cId="2878435808" sldId="2147473306"/>
            <ac:spMk id="45" creationId="{D655BBA0-2147-4F27-8701-30F085827B9B}"/>
          </ac:spMkLst>
        </pc:spChg>
        <pc:spChg chg="mod">
          <ac:chgData name="Jussi SANE" userId="ea93c24b-dbd9-4d97-a8d9-5bde9d84aa5e" providerId="ADAL" clId="{7841E0CC-1FEA-0B42-88AD-6AE9D88B9FC1}" dt="2022-11-23T13:50:55.934" v="0"/>
          <ac:spMkLst>
            <pc:docMk/>
            <pc:sldMk cId="2878435808" sldId="2147473306"/>
            <ac:spMk id="46" creationId="{BA69D851-8DB8-45D5-AC7C-2DA2AE31374F}"/>
          </ac:spMkLst>
        </pc:spChg>
        <pc:spChg chg="mod">
          <ac:chgData name="Jussi SANE" userId="ea93c24b-dbd9-4d97-a8d9-5bde9d84aa5e" providerId="ADAL" clId="{7841E0CC-1FEA-0B42-88AD-6AE9D88B9FC1}" dt="2022-11-23T13:50:55.934" v="0"/>
          <ac:spMkLst>
            <pc:docMk/>
            <pc:sldMk cId="2878435808" sldId="2147473306"/>
            <ac:spMk id="52" creationId="{2115232C-E97E-414E-A997-6975EFAC08E6}"/>
          </ac:spMkLst>
        </pc:spChg>
        <pc:spChg chg="mod">
          <ac:chgData name="Jussi SANE" userId="ea93c24b-dbd9-4d97-a8d9-5bde9d84aa5e" providerId="ADAL" clId="{7841E0CC-1FEA-0B42-88AD-6AE9D88B9FC1}" dt="2022-11-23T13:50:55.934" v="0"/>
          <ac:spMkLst>
            <pc:docMk/>
            <pc:sldMk cId="2878435808" sldId="2147473306"/>
            <ac:spMk id="54" creationId="{3779C0AC-6DEE-4B0E-B604-0C3E20B34665}"/>
          </ac:spMkLst>
        </pc:spChg>
        <pc:spChg chg="mod">
          <ac:chgData name="Jussi SANE" userId="ea93c24b-dbd9-4d97-a8d9-5bde9d84aa5e" providerId="ADAL" clId="{7841E0CC-1FEA-0B42-88AD-6AE9D88B9FC1}" dt="2022-11-23T13:50:55.934" v="0"/>
          <ac:spMkLst>
            <pc:docMk/>
            <pc:sldMk cId="2878435808" sldId="2147473306"/>
            <ac:spMk id="55" creationId="{2CEBB34E-156D-4F2D-8360-0C94E12DD1FF}"/>
          </ac:spMkLst>
        </pc:spChg>
        <pc:spChg chg="mod">
          <ac:chgData name="Jussi SANE" userId="ea93c24b-dbd9-4d97-a8d9-5bde9d84aa5e" providerId="ADAL" clId="{7841E0CC-1FEA-0B42-88AD-6AE9D88B9FC1}" dt="2022-11-23T13:50:55.934" v="0"/>
          <ac:spMkLst>
            <pc:docMk/>
            <pc:sldMk cId="2878435808" sldId="2147473306"/>
            <ac:spMk id="56" creationId="{330A8902-394D-44F9-9479-584B53CC47A2}"/>
          </ac:spMkLst>
        </pc:spChg>
        <pc:spChg chg="mod">
          <ac:chgData name="Jussi SANE" userId="ea93c24b-dbd9-4d97-a8d9-5bde9d84aa5e" providerId="ADAL" clId="{7841E0CC-1FEA-0B42-88AD-6AE9D88B9FC1}" dt="2022-11-23T13:50:55.934" v="0"/>
          <ac:spMkLst>
            <pc:docMk/>
            <pc:sldMk cId="2878435808" sldId="2147473306"/>
            <ac:spMk id="57" creationId="{AC025E24-BC5C-419B-B1B7-91A5F16D25CD}"/>
          </ac:spMkLst>
        </pc:spChg>
        <pc:spChg chg="mod">
          <ac:chgData name="Jussi SANE" userId="ea93c24b-dbd9-4d97-a8d9-5bde9d84aa5e" providerId="ADAL" clId="{7841E0CC-1FEA-0B42-88AD-6AE9D88B9FC1}" dt="2022-11-23T13:50:55.934" v="0"/>
          <ac:spMkLst>
            <pc:docMk/>
            <pc:sldMk cId="2878435808" sldId="2147473306"/>
            <ac:spMk id="60" creationId="{7658FFFB-678A-40FB-8BC1-F4831CC86686}"/>
          </ac:spMkLst>
        </pc:spChg>
        <pc:spChg chg="mod">
          <ac:chgData name="Jussi SANE" userId="ea93c24b-dbd9-4d97-a8d9-5bde9d84aa5e" providerId="ADAL" clId="{7841E0CC-1FEA-0B42-88AD-6AE9D88B9FC1}" dt="2022-11-23T13:50:55.934" v="0"/>
          <ac:spMkLst>
            <pc:docMk/>
            <pc:sldMk cId="2878435808" sldId="2147473306"/>
            <ac:spMk id="61" creationId="{608EDDB1-8B06-4D31-9AD2-AFCAA28D6AA8}"/>
          </ac:spMkLst>
        </pc:spChg>
        <pc:spChg chg="mod">
          <ac:chgData name="Jussi SANE" userId="ea93c24b-dbd9-4d97-a8d9-5bde9d84aa5e" providerId="ADAL" clId="{7841E0CC-1FEA-0B42-88AD-6AE9D88B9FC1}" dt="2022-11-23T13:50:55.934" v="0"/>
          <ac:spMkLst>
            <pc:docMk/>
            <pc:sldMk cId="2878435808" sldId="2147473306"/>
            <ac:spMk id="62" creationId="{B86AD81E-DF85-4848-8690-E61CE9B2D4D8}"/>
          </ac:spMkLst>
        </pc:spChg>
        <pc:spChg chg="mod">
          <ac:chgData name="Jussi SANE" userId="ea93c24b-dbd9-4d97-a8d9-5bde9d84aa5e" providerId="ADAL" clId="{7841E0CC-1FEA-0B42-88AD-6AE9D88B9FC1}" dt="2022-11-23T13:50:55.934" v="0"/>
          <ac:spMkLst>
            <pc:docMk/>
            <pc:sldMk cId="2878435808" sldId="2147473306"/>
            <ac:spMk id="63" creationId="{3E01EB1B-CA34-4F29-AC6B-B1B0722FAF0B}"/>
          </ac:spMkLst>
        </pc:spChg>
        <pc:spChg chg="mod">
          <ac:chgData name="Jussi SANE" userId="ea93c24b-dbd9-4d97-a8d9-5bde9d84aa5e" providerId="ADAL" clId="{7841E0CC-1FEA-0B42-88AD-6AE9D88B9FC1}" dt="2022-11-23T13:50:55.934" v="0"/>
          <ac:spMkLst>
            <pc:docMk/>
            <pc:sldMk cId="2878435808" sldId="2147473306"/>
            <ac:spMk id="65" creationId="{28AE9648-EDFC-4FE3-82A6-C9E245D29EA7}"/>
          </ac:spMkLst>
        </pc:spChg>
        <pc:spChg chg="mod">
          <ac:chgData name="Jussi SANE" userId="ea93c24b-dbd9-4d97-a8d9-5bde9d84aa5e" providerId="ADAL" clId="{7841E0CC-1FEA-0B42-88AD-6AE9D88B9FC1}" dt="2022-11-23T13:50:55.934" v="0"/>
          <ac:spMkLst>
            <pc:docMk/>
            <pc:sldMk cId="2878435808" sldId="2147473306"/>
            <ac:spMk id="66" creationId="{B83A181C-DEF3-4BA4-900B-050907978E6B}"/>
          </ac:spMkLst>
        </pc:spChg>
        <pc:spChg chg="mod">
          <ac:chgData name="Jussi SANE" userId="ea93c24b-dbd9-4d97-a8d9-5bde9d84aa5e" providerId="ADAL" clId="{7841E0CC-1FEA-0B42-88AD-6AE9D88B9FC1}" dt="2022-11-23T13:50:55.934" v="0"/>
          <ac:spMkLst>
            <pc:docMk/>
            <pc:sldMk cId="2878435808" sldId="2147473306"/>
            <ac:spMk id="67" creationId="{17FEA3AE-29D7-47ED-A2EE-61B24A2CED2C}"/>
          </ac:spMkLst>
        </pc:spChg>
        <pc:spChg chg="mod">
          <ac:chgData name="Jussi SANE" userId="ea93c24b-dbd9-4d97-a8d9-5bde9d84aa5e" providerId="ADAL" clId="{7841E0CC-1FEA-0B42-88AD-6AE9D88B9FC1}" dt="2022-11-23T13:50:55.934" v="0"/>
          <ac:spMkLst>
            <pc:docMk/>
            <pc:sldMk cId="2878435808" sldId="2147473306"/>
            <ac:spMk id="68" creationId="{5C8D3B0C-43B5-4FFE-94EB-3185F9CB7F35}"/>
          </ac:spMkLst>
        </pc:spChg>
        <pc:spChg chg="mod">
          <ac:chgData name="Jussi SANE" userId="ea93c24b-dbd9-4d97-a8d9-5bde9d84aa5e" providerId="ADAL" clId="{7841E0CC-1FEA-0B42-88AD-6AE9D88B9FC1}" dt="2022-11-23T13:50:55.934" v="0"/>
          <ac:spMkLst>
            <pc:docMk/>
            <pc:sldMk cId="2878435808" sldId="2147473306"/>
            <ac:spMk id="69" creationId="{81464D9A-CBA5-44B3-A110-46BA62BC2547}"/>
          </ac:spMkLst>
        </pc:spChg>
        <pc:spChg chg="mod">
          <ac:chgData name="Jussi SANE" userId="ea93c24b-dbd9-4d97-a8d9-5bde9d84aa5e" providerId="ADAL" clId="{7841E0CC-1FEA-0B42-88AD-6AE9D88B9FC1}" dt="2022-11-23T13:50:55.934" v="0"/>
          <ac:spMkLst>
            <pc:docMk/>
            <pc:sldMk cId="2878435808" sldId="2147473306"/>
            <ac:spMk id="88" creationId="{259D777B-9BCF-444B-9F9D-56B53FAE9F53}"/>
          </ac:spMkLst>
        </pc:spChg>
        <pc:spChg chg="mod">
          <ac:chgData name="Jussi SANE" userId="ea93c24b-dbd9-4d97-a8d9-5bde9d84aa5e" providerId="ADAL" clId="{7841E0CC-1FEA-0B42-88AD-6AE9D88B9FC1}" dt="2022-11-23T13:50:55.934" v="0"/>
          <ac:spMkLst>
            <pc:docMk/>
            <pc:sldMk cId="2878435808" sldId="2147473306"/>
            <ac:spMk id="89" creationId="{6B35748C-A99D-447D-9D22-96EF6FD20400}"/>
          </ac:spMkLst>
        </pc:spChg>
        <pc:grpChg chg="mod">
          <ac:chgData name="Jussi SANE" userId="ea93c24b-dbd9-4d97-a8d9-5bde9d84aa5e" providerId="ADAL" clId="{7841E0CC-1FEA-0B42-88AD-6AE9D88B9FC1}" dt="2022-11-23T13:50:55.934" v="0"/>
          <ac:grpSpMkLst>
            <pc:docMk/>
            <pc:sldMk cId="2878435808" sldId="2147473306"/>
            <ac:grpSpMk id="1" creationId="{00000000-0000-0000-0000-000000000000}"/>
          </ac:grpSpMkLst>
        </pc:grpChg>
        <pc:grpChg chg="mod">
          <ac:chgData name="Jussi SANE" userId="ea93c24b-dbd9-4d97-a8d9-5bde9d84aa5e" providerId="ADAL" clId="{7841E0CC-1FEA-0B42-88AD-6AE9D88B9FC1}" dt="2022-11-23T13:50:55.934" v="0"/>
          <ac:grpSpMkLst>
            <pc:docMk/>
            <pc:sldMk cId="2878435808" sldId="2147473306"/>
            <ac:grpSpMk id="9" creationId="{E7C0947F-A88A-4CF2-AE12-99E622E6A928}"/>
          </ac:grpSpMkLst>
        </pc:grpChg>
        <pc:grpChg chg="mod">
          <ac:chgData name="Jussi SANE" userId="ea93c24b-dbd9-4d97-a8d9-5bde9d84aa5e" providerId="ADAL" clId="{7841E0CC-1FEA-0B42-88AD-6AE9D88B9FC1}" dt="2022-11-23T13:50:55.934" v="0"/>
          <ac:grpSpMkLst>
            <pc:docMk/>
            <pc:sldMk cId="2878435808" sldId="2147473306"/>
            <ac:grpSpMk id="19" creationId="{6170B7CE-3376-40B3-83D4-DF0F8837F0BE}"/>
          </ac:grpSpMkLst>
        </pc:grpChg>
        <pc:grpChg chg="mod">
          <ac:chgData name="Jussi SANE" userId="ea93c24b-dbd9-4d97-a8d9-5bde9d84aa5e" providerId="ADAL" clId="{7841E0CC-1FEA-0B42-88AD-6AE9D88B9FC1}" dt="2022-11-23T13:50:55.934" v="0"/>
          <ac:grpSpMkLst>
            <pc:docMk/>
            <pc:sldMk cId="2878435808" sldId="2147473306"/>
            <ac:grpSpMk id="58" creationId="{21EC28D1-88AC-4FBE-A35C-2779F6213B28}"/>
          </ac:grpSpMkLst>
        </pc:grpChg>
        <pc:grpChg chg="mod">
          <ac:chgData name="Jussi SANE" userId="ea93c24b-dbd9-4d97-a8d9-5bde9d84aa5e" providerId="ADAL" clId="{7841E0CC-1FEA-0B42-88AD-6AE9D88B9FC1}" dt="2022-11-23T13:50:55.934" v="0"/>
          <ac:grpSpMkLst>
            <pc:docMk/>
            <pc:sldMk cId="2878435808" sldId="2147473306"/>
            <ac:grpSpMk id="64" creationId="{334546BD-70E2-471A-94EA-622E687378C6}"/>
          </ac:grpSpMkLst>
        </pc:grpChg>
        <pc:grpChg chg="mod">
          <ac:chgData name="Jussi SANE" userId="ea93c24b-dbd9-4d97-a8d9-5bde9d84aa5e" providerId="ADAL" clId="{7841E0CC-1FEA-0B42-88AD-6AE9D88B9FC1}" dt="2022-11-23T13:50:55.934" v="0"/>
          <ac:grpSpMkLst>
            <pc:docMk/>
            <pc:sldMk cId="2878435808" sldId="2147473306"/>
            <ac:grpSpMk id="76" creationId="{3970BD05-295F-4D3A-9EFA-123DD39B6E82}"/>
          </ac:grpSpMkLst>
        </pc:grpChg>
        <pc:graphicFrameChg chg="mod">
          <ac:chgData name="Jussi SANE" userId="ea93c24b-dbd9-4d97-a8d9-5bde9d84aa5e" providerId="ADAL" clId="{7841E0CC-1FEA-0B42-88AD-6AE9D88B9FC1}" dt="2022-11-23T13:50:55.934" v="0"/>
          <ac:graphicFrameMkLst>
            <pc:docMk/>
            <pc:sldMk cId="2878435808" sldId="2147473306"/>
            <ac:graphicFrameMk id="5" creationId="{0B52C5AC-330D-4BC7-985E-A3F294E95E6C}"/>
          </ac:graphicFrameMkLst>
        </pc:graphicFrameChg>
        <pc:picChg chg="mod">
          <ac:chgData name="Jussi SANE" userId="ea93c24b-dbd9-4d97-a8d9-5bde9d84aa5e" providerId="ADAL" clId="{7841E0CC-1FEA-0B42-88AD-6AE9D88B9FC1}" dt="2022-11-23T13:50:55.934" v="0"/>
          <ac:picMkLst>
            <pc:docMk/>
            <pc:sldMk cId="2878435808" sldId="2147473306"/>
            <ac:picMk id="3" creationId="{136EAF05-64B5-4387-BA50-6A0867DDBAE5}"/>
          </ac:picMkLst>
        </pc:picChg>
        <pc:picChg chg="mod">
          <ac:chgData name="Jussi SANE" userId="ea93c24b-dbd9-4d97-a8d9-5bde9d84aa5e" providerId="ADAL" clId="{7841E0CC-1FEA-0B42-88AD-6AE9D88B9FC1}" dt="2022-11-23T13:50:55.934" v="0"/>
          <ac:picMkLst>
            <pc:docMk/>
            <pc:sldMk cId="2878435808" sldId="2147473306"/>
            <ac:picMk id="16" creationId="{A911C6E2-D6E2-402A-A701-9D9AF5A0FEA4}"/>
          </ac:picMkLst>
        </pc:picChg>
        <pc:cxnChg chg="mod">
          <ac:chgData name="Jussi SANE" userId="ea93c24b-dbd9-4d97-a8d9-5bde9d84aa5e" providerId="ADAL" clId="{7841E0CC-1FEA-0B42-88AD-6AE9D88B9FC1}" dt="2022-11-23T13:50:55.934" v="0"/>
          <ac:cxnSpMkLst>
            <pc:docMk/>
            <pc:sldMk cId="2878435808" sldId="2147473306"/>
            <ac:cxnSpMk id="11" creationId="{82AEF10A-52C3-4536-9122-35B846B4FD17}"/>
          </ac:cxnSpMkLst>
        </pc:cxnChg>
        <pc:cxnChg chg="mod">
          <ac:chgData name="Jussi SANE" userId="ea93c24b-dbd9-4d97-a8d9-5bde9d84aa5e" providerId="ADAL" clId="{7841E0CC-1FEA-0B42-88AD-6AE9D88B9FC1}" dt="2022-11-23T13:50:55.934" v="0"/>
          <ac:cxnSpMkLst>
            <pc:docMk/>
            <pc:sldMk cId="2878435808" sldId="2147473306"/>
            <ac:cxnSpMk id="44" creationId="{CCC861F0-69A6-4738-969D-55744E2F26C9}"/>
          </ac:cxnSpMkLst>
        </pc:cxnChg>
      </pc:sldChg>
      <pc:sldChg chg="modSp">
        <pc:chgData name="Jussi SANE" userId="ea93c24b-dbd9-4d97-a8d9-5bde9d84aa5e" providerId="ADAL" clId="{7841E0CC-1FEA-0B42-88AD-6AE9D88B9FC1}" dt="2022-11-23T13:50:55.934" v="0"/>
        <pc:sldMkLst>
          <pc:docMk/>
          <pc:sldMk cId="1695404459" sldId="2147473307"/>
        </pc:sldMkLst>
        <pc:spChg chg="mod">
          <ac:chgData name="Jussi SANE" userId="ea93c24b-dbd9-4d97-a8d9-5bde9d84aa5e" providerId="ADAL" clId="{7841E0CC-1FEA-0B42-88AD-6AE9D88B9FC1}" dt="2022-11-23T13:50:55.934" v="0"/>
          <ac:spMkLst>
            <pc:docMk/>
            <pc:sldMk cId="1695404459" sldId="2147473307"/>
            <ac:spMk id="7" creationId="{1370040A-0A9D-4EA2-A912-AE3BB3251D8B}"/>
          </ac:spMkLst>
        </pc:spChg>
        <pc:spChg chg="mod">
          <ac:chgData name="Jussi SANE" userId="ea93c24b-dbd9-4d97-a8d9-5bde9d84aa5e" providerId="ADAL" clId="{7841E0CC-1FEA-0B42-88AD-6AE9D88B9FC1}" dt="2022-11-23T13:50:55.934" v="0"/>
          <ac:spMkLst>
            <pc:docMk/>
            <pc:sldMk cId="1695404459" sldId="2147473307"/>
            <ac:spMk id="22" creationId="{CC7D3348-C76F-4BBF-8CDF-11A027E52792}"/>
          </ac:spMkLst>
        </pc:spChg>
        <pc:spChg chg="mod">
          <ac:chgData name="Jussi SANE" userId="ea93c24b-dbd9-4d97-a8d9-5bde9d84aa5e" providerId="ADAL" clId="{7841E0CC-1FEA-0B42-88AD-6AE9D88B9FC1}" dt="2022-11-23T13:50:55.934" v="0"/>
          <ac:spMkLst>
            <pc:docMk/>
            <pc:sldMk cId="1695404459" sldId="2147473307"/>
            <ac:spMk id="23" creationId="{D36BC0B2-88F6-45BC-9DF0-9006ACA3376D}"/>
          </ac:spMkLst>
        </pc:spChg>
        <pc:spChg chg="mod">
          <ac:chgData name="Jussi SANE" userId="ea93c24b-dbd9-4d97-a8d9-5bde9d84aa5e" providerId="ADAL" clId="{7841E0CC-1FEA-0B42-88AD-6AE9D88B9FC1}" dt="2022-11-23T13:50:55.934" v="0"/>
          <ac:spMkLst>
            <pc:docMk/>
            <pc:sldMk cId="1695404459" sldId="2147473307"/>
            <ac:spMk id="25" creationId="{DE6DC217-DB32-4709-8353-2363054A4EC1}"/>
          </ac:spMkLst>
        </pc:spChg>
        <pc:spChg chg="mod">
          <ac:chgData name="Jussi SANE" userId="ea93c24b-dbd9-4d97-a8d9-5bde9d84aa5e" providerId="ADAL" clId="{7841E0CC-1FEA-0B42-88AD-6AE9D88B9FC1}" dt="2022-11-23T13:50:55.934" v="0"/>
          <ac:spMkLst>
            <pc:docMk/>
            <pc:sldMk cId="1695404459" sldId="2147473307"/>
            <ac:spMk id="26" creationId="{D59EC92E-C2E9-489F-8E3F-13D6C1EF3DE2}"/>
          </ac:spMkLst>
        </pc:spChg>
        <pc:spChg chg="mod">
          <ac:chgData name="Jussi SANE" userId="ea93c24b-dbd9-4d97-a8d9-5bde9d84aa5e" providerId="ADAL" clId="{7841E0CC-1FEA-0B42-88AD-6AE9D88B9FC1}" dt="2022-11-23T13:50:55.934" v="0"/>
          <ac:spMkLst>
            <pc:docMk/>
            <pc:sldMk cId="1695404459" sldId="2147473307"/>
            <ac:spMk id="27" creationId="{25D10EB8-048E-4EB9-81E4-B98BFB50E5C1}"/>
          </ac:spMkLst>
        </pc:spChg>
        <pc:spChg chg="mod">
          <ac:chgData name="Jussi SANE" userId="ea93c24b-dbd9-4d97-a8d9-5bde9d84aa5e" providerId="ADAL" clId="{7841E0CC-1FEA-0B42-88AD-6AE9D88B9FC1}" dt="2022-11-23T13:50:55.934" v="0"/>
          <ac:spMkLst>
            <pc:docMk/>
            <pc:sldMk cId="1695404459" sldId="2147473307"/>
            <ac:spMk id="28" creationId="{F29CCC6E-DDA3-45C9-8473-F6A24B725E9C}"/>
          </ac:spMkLst>
        </pc:spChg>
        <pc:spChg chg="mod">
          <ac:chgData name="Jussi SANE" userId="ea93c24b-dbd9-4d97-a8d9-5bde9d84aa5e" providerId="ADAL" clId="{7841E0CC-1FEA-0B42-88AD-6AE9D88B9FC1}" dt="2022-11-23T13:50:55.934" v="0"/>
          <ac:spMkLst>
            <pc:docMk/>
            <pc:sldMk cId="1695404459" sldId="2147473307"/>
            <ac:spMk id="29" creationId="{1BCBA0FF-620A-47BA-96A2-16401FE2940D}"/>
          </ac:spMkLst>
        </pc:spChg>
        <pc:spChg chg="mod">
          <ac:chgData name="Jussi SANE" userId="ea93c24b-dbd9-4d97-a8d9-5bde9d84aa5e" providerId="ADAL" clId="{7841E0CC-1FEA-0B42-88AD-6AE9D88B9FC1}" dt="2022-11-23T13:50:55.934" v="0"/>
          <ac:spMkLst>
            <pc:docMk/>
            <pc:sldMk cId="1695404459" sldId="2147473307"/>
            <ac:spMk id="30" creationId="{3953E277-C18E-4E22-9375-644A4BAAB419}"/>
          </ac:spMkLst>
        </pc:spChg>
        <pc:spChg chg="mod">
          <ac:chgData name="Jussi SANE" userId="ea93c24b-dbd9-4d97-a8d9-5bde9d84aa5e" providerId="ADAL" clId="{7841E0CC-1FEA-0B42-88AD-6AE9D88B9FC1}" dt="2022-11-23T13:50:55.934" v="0"/>
          <ac:spMkLst>
            <pc:docMk/>
            <pc:sldMk cId="1695404459" sldId="2147473307"/>
            <ac:spMk id="32" creationId="{02FB79FA-6B51-4EE9-A8BA-B95B0099F814}"/>
          </ac:spMkLst>
        </pc:spChg>
        <pc:spChg chg="mod">
          <ac:chgData name="Jussi SANE" userId="ea93c24b-dbd9-4d97-a8d9-5bde9d84aa5e" providerId="ADAL" clId="{7841E0CC-1FEA-0B42-88AD-6AE9D88B9FC1}" dt="2022-11-23T13:50:55.934" v="0"/>
          <ac:spMkLst>
            <pc:docMk/>
            <pc:sldMk cId="1695404459" sldId="2147473307"/>
            <ac:spMk id="33" creationId="{669E3D01-D3C9-45AD-A437-CD114337326F}"/>
          </ac:spMkLst>
        </pc:spChg>
        <pc:spChg chg="mod">
          <ac:chgData name="Jussi SANE" userId="ea93c24b-dbd9-4d97-a8d9-5bde9d84aa5e" providerId="ADAL" clId="{7841E0CC-1FEA-0B42-88AD-6AE9D88B9FC1}" dt="2022-11-23T13:50:55.934" v="0"/>
          <ac:spMkLst>
            <pc:docMk/>
            <pc:sldMk cId="1695404459" sldId="2147473307"/>
            <ac:spMk id="34" creationId="{2F6EF038-A622-4619-85FA-4241ADB5E7F9}"/>
          </ac:spMkLst>
        </pc:spChg>
        <pc:spChg chg="mod">
          <ac:chgData name="Jussi SANE" userId="ea93c24b-dbd9-4d97-a8d9-5bde9d84aa5e" providerId="ADAL" clId="{7841E0CC-1FEA-0B42-88AD-6AE9D88B9FC1}" dt="2022-11-23T13:50:55.934" v="0"/>
          <ac:spMkLst>
            <pc:docMk/>
            <pc:sldMk cId="1695404459" sldId="2147473307"/>
            <ac:spMk id="35" creationId="{974226C4-4129-4C0E-BD8B-942A5749277D}"/>
          </ac:spMkLst>
        </pc:spChg>
        <pc:spChg chg="mod">
          <ac:chgData name="Jussi SANE" userId="ea93c24b-dbd9-4d97-a8d9-5bde9d84aa5e" providerId="ADAL" clId="{7841E0CC-1FEA-0B42-88AD-6AE9D88B9FC1}" dt="2022-11-23T13:50:55.934" v="0"/>
          <ac:spMkLst>
            <pc:docMk/>
            <pc:sldMk cId="1695404459" sldId="2147473307"/>
            <ac:spMk id="81" creationId="{7B6A0491-DFF8-4824-8A0F-85E47F20432C}"/>
          </ac:spMkLst>
        </pc:spChg>
        <pc:grpChg chg="mod">
          <ac:chgData name="Jussi SANE" userId="ea93c24b-dbd9-4d97-a8d9-5bde9d84aa5e" providerId="ADAL" clId="{7841E0CC-1FEA-0B42-88AD-6AE9D88B9FC1}" dt="2022-11-23T13:50:55.934" v="0"/>
          <ac:grpSpMkLst>
            <pc:docMk/>
            <pc:sldMk cId="1695404459" sldId="2147473307"/>
            <ac:grpSpMk id="1" creationId="{00000000-0000-0000-0000-000000000000}"/>
          </ac:grpSpMkLst>
        </pc:grpChg>
        <pc:grpChg chg="mod">
          <ac:chgData name="Jussi SANE" userId="ea93c24b-dbd9-4d97-a8d9-5bde9d84aa5e" providerId="ADAL" clId="{7841E0CC-1FEA-0B42-88AD-6AE9D88B9FC1}" dt="2022-11-23T13:50:55.934" v="0"/>
          <ac:grpSpMkLst>
            <pc:docMk/>
            <pc:sldMk cId="1695404459" sldId="2147473307"/>
            <ac:grpSpMk id="3" creationId="{DF78E36F-4CE6-44DB-B3C2-C5FC32A3BF1A}"/>
          </ac:grpSpMkLst>
        </pc:grpChg>
        <pc:graphicFrameChg chg="mod">
          <ac:chgData name="Jussi SANE" userId="ea93c24b-dbd9-4d97-a8d9-5bde9d84aa5e" providerId="ADAL" clId="{7841E0CC-1FEA-0B42-88AD-6AE9D88B9FC1}" dt="2022-11-23T13:50:55.934" v="0"/>
          <ac:graphicFrameMkLst>
            <pc:docMk/>
            <pc:sldMk cId="1695404459" sldId="2147473307"/>
            <ac:graphicFrameMk id="4" creationId="{09B5CF1E-78FF-49F8-9586-307515372D72}"/>
          </ac:graphicFrameMkLst>
        </pc:graphicFrameChg>
        <pc:picChg chg="mod">
          <ac:chgData name="Jussi SANE" userId="ea93c24b-dbd9-4d97-a8d9-5bde9d84aa5e" providerId="ADAL" clId="{7841E0CC-1FEA-0B42-88AD-6AE9D88B9FC1}" dt="2022-11-23T13:50:55.934" v="0"/>
          <ac:picMkLst>
            <pc:docMk/>
            <pc:sldMk cId="1695404459" sldId="2147473307"/>
            <ac:picMk id="2" creationId="{D7DEF0C7-485D-4026-8DE9-9C893C19C742}"/>
          </ac:picMkLst>
        </pc:picChg>
        <pc:picChg chg="mod">
          <ac:chgData name="Jussi SANE" userId="ea93c24b-dbd9-4d97-a8d9-5bde9d84aa5e" providerId="ADAL" clId="{7841E0CC-1FEA-0B42-88AD-6AE9D88B9FC1}" dt="2022-11-23T13:50:55.934" v="0"/>
          <ac:picMkLst>
            <pc:docMk/>
            <pc:sldMk cId="1695404459" sldId="2147473307"/>
            <ac:picMk id="5" creationId="{427C5245-8830-4F2A-92B4-38642427ECFB}"/>
          </ac:picMkLst>
        </pc:picChg>
        <pc:picChg chg="mod">
          <ac:chgData name="Jussi SANE" userId="ea93c24b-dbd9-4d97-a8d9-5bde9d84aa5e" providerId="ADAL" clId="{7841E0CC-1FEA-0B42-88AD-6AE9D88B9FC1}" dt="2022-11-23T13:50:55.934" v="0"/>
          <ac:picMkLst>
            <pc:docMk/>
            <pc:sldMk cId="1695404459" sldId="2147473307"/>
            <ac:picMk id="6" creationId="{ED4B7A0B-0B10-4EF2-9890-A73094CB6816}"/>
          </ac:picMkLst>
        </pc:picChg>
        <pc:cxnChg chg="mod">
          <ac:chgData name="Jussi SANE" userId="ea93c24b-dbd9-4d97-a8d9-5bde9d84aa5e" providerId="ADAL" clId="{7841E0CC-1FEA-0B42-88AD-6AE9D88B9FC1}" dt="2022-11-23T13:50:55.934" v="0"/>
          <ac:cxnSpMkLst>
            <pc:docMk/>
            <pc:sldMk cId="1695404459" sldId="2147473307"/>
            <ac:cxnSpMk id="51" creationId="{4C9F1A92-A32A-4547-B3AF-3CF9E2F8E1E0}"/>
          </ac:cxnSpMkLst>
        </pc:cxnChg>
        <pc:cxnChg chg="mod">
          <ac:chgData name="Jussi SANE" userId="ea93c24b-dbd9-4d97-a8d9-5bde9d84aa5e" providerId="ADAL" clId="{7841E0CC-1FEA-0B42-88AD-6AE9D88B9FC1}" dt="2022-11-23T13:50:55.934" v="0"/>
          <ac:cxnSpMkLst>
            <pc:docMk/>
            <pc:sldMk cId="1695404459" sldId="2147473307"/>
            <ac:cxnSpMk id="52" creationId="{6F5811FE-045E-4780-9FB1-570F0A9147FA}"/>
          </ac:cxnSpMkLst>
        </pc:cxnChg>
        <pc:cxnChg chg="mod">
          <ac:chgData name="Jussi SANE" userId="ea93c24b-dbd9-4d97-a8d9-5bde9d84aa5e" providerId="ADAL" clId="{7841E0CC-1FEA-0B42-88AD-6AE9D88B9FC1}" dt="2022-11-23T13:50:55.934" v="0"/>
          <ac:cxnSpMkLst>
            <pc:docMk/>
            <pc:sldMk cId="1695404459" sldId="2147473307"/>
            <ac:cxnSpMk id="58" creationId="{7D63357E-875A-4F8A-B89E-2E7F80EA6A48}"/>
          </ac:cxnSpMkLst>
        </pc:cxnChg>
        <pc:cxnChg chg="mod">
          <ac:chgData name="Jussi SANE" userId="ea93c24b-dbd9-4d97-a8d9-5bde9d84aa5e" providerId="ADAL" clId="{7841E0CC-1FEA-0B42-88AD-6AE9D88B9FC1}" dt="2022-11-23T13:50:55.934" v="0"/>
          <ac:cxnSpMkLst>
            <pc:docMk/>
            <pc:sldMk cId="1695404459" sldId="2147473307"/>
            <ac:cxnSpMk id="59" creationId="{31B033AC-26BF-4B55-AAE3-461EE811D35D}"/>
          </ac:cxnSpMkLst>
        </pc:cxnChg>
        <pc:cxnChg chg="mod">
          <ac:chgData name="Jussi SANE" userId="ea93c24b-dbd9-4d97-a8d9-5bde9d84aa5e" providerId="ADAL" clId="{7841E0CC-1FEA-0B42-88AD-6AE9D88B9FC1}" dt="2022-11-23T13:50:55.934" v="0"/>
          <ac:cxnSpMkLst>
            <pc:docMk/>
            <pc:sldMk cId="1695404459" sldId="2147473307"/>
            <ac:cxnSpMk id="67" creationId="{9C1E52A0-2A8C-452F-8921-53D0D68397AD}"/>
          </ac:cxnSpMkLst>
        </pc:cxnChg>
        <pc:cxnChg chg="mod">
          <ac:chgData name="Jussi SANE" userId="ea93c24b-dbd9-4d97-a8d9-5bde9d84aa5e" providerId="ADAL" clId="{7841E0CC-1FEA-0B42-88AD-6AE9D88B9FC1}" dt="2022-11-23T13:50:55.934" v="0"/>
          <ac:cxnSpMkLst>
            <pc:docMk/>
            <pc:sldMk cId="1695404459" sldId="2147473307"/>
            <ac:cxnSpMk id="69" creationId="{DA547FE1-D866-419E-86FE-C8558110015C}"/>
          </ac:cxnSpMkLst>
        </pc:cxnChg>
        <pc:cxnChg chg="mod">
          <ac:chgData name="Jussi SANE" userId="ea93c24b-dbd9-4d97-a8d9-5bde9d84aa5e" providerId="ADAL" clId="{7841E0CC-1FEA-0B42-88AD-6AE9D88B9FC1}" dt="2022-11-23T13:50:55.934" v="0"/>
          <ac:cxnSpMkLst>
            <pc:docMk/>
            <pc:sldMk cId="1695404459" sldId="2147473307"/>
            <ac:cxnSpMk id="72" creationId="{3C081969-5E59-415A-B1AC-F2F10377219E}"/>
          </ac:cxnSpMkLst>
        </pc:cxnChg>
        <pc:cxnChg chg="mod">
          <ac:chgData name="Jussi SANE" userId="ea93c24b-dbd9-4d97-a8d9-5bde9d84aa5e" providerId="ADAL" clId="{7841E0CC-1FEA-0B42-88AD-6AE9D88B9FC1}" dt="2022-11-23T13:50:55.934" v="0"/>
          <ac:cxnSpMkLst>
            <pc:docMk/>
            <pc:sldMk cId="1695404459" sldId="2147473307"/>
            <ac:cxnSpMk id="73" creationId="{4B3B04DE-9875-4859-8A5F-736F45CEF8BD}"/>
          </ac:cxnSpMkLst>
        </pc:cxnChg>
        <pc:cxnChg chg="mod">
          <ac:chgData name="Jussi SANE" userId="ea93c24b-dbd9-4d97-a8d9-5bde9d84aa5e" providerId="ADAL" clId="{7841E0CC-1FEA-0B42-88AD-6AE9D88B9FC1}" dt="2022-11-23T13:50:55.934" v="0"/>
          <ac:cxnSpMkLst>
            <pc:docMk/>
            <pc:sldMk cId="1695404459" sldId="2147473307"/>
            <ac:cxnSpMk id="88" creationId="{B4EE9CD6-45C1-4FD8-A258-F565C72F3011}"/>
          </ac:cxnSpMkLst>
        </pc:cxnChg>
        <pc:cxnChg chg="mod">
          <ac:chgData name="Jussi SANE" userId="ea93c24b-dbd9-4d97-a8d9-5bde9d84aa5e" providerId="ADAL" clId="{7841E0CC-1FEA-0B42-88AD-6AE9D88B9FC1}" dt="2022-11-23T13:50:55.934" v="0"/>
          <ac:cxnSpMkLst>
            <pc:docMk/>
            <pc:sldMk cId="1695404459" sldId="2147473307"/>
            <ac:cxnSpMk id="91" creationId="{BF99F9C3-E52E-473A-B2E4-2B6B18AAE4AD}"/>
          </ac:cxnSpMkLst>
        </pc:cxnChg>
      </pc:sldChg>
      <pc:sldChg chg="modSp">
        <pc:chgData name="Jussi SANE" userId="ea93c24b-dbd9-4d97-a8d9-5bde9d84aa5e" providerId="ADAL" clId="{7841E0CC-1FEA-0B42-88AD-6AE9D88B9FC1}" dt="2022-11-23T13:50:55.934" v="0"/>
        <pc:sldMkLst>
          <pc:docMk/>
          <pc:sldMk cId="355896356" sldId="2147473308"/>
        </pc:sldMkLst>
        <pc:spChg chg="mod">
          <ac:chgData name="Jussi SANE" userId="ea93c24b-dbd9-4d97-a8d9-5bde9d84aa5e" providerId="ADAL" clId="{7841E0CC-1FEA-0B42-88AD-6AE9D88B9FC1}" dt="2022-11-23T13:50:55.934" v="0"/>
          <ac:spMkLst>
            <pc:docMk/>
            <pc:sldMk cId="355896356" sldId="2147473308"/>
            <ac:spMk id="45" creationId="{FBA1537F-CE92-499E-A97C-0E1F4C0D7F20}"/>
          </ac:spMkLst>
        </pc:spChg>
        <pc:spChg chg="mod">
          <ac:chgData name="Jussi SANE" userId="ea93c24b-dbd9-4d97-a8d9-5bde9d84aa5e" providerId="ADAL" clId="{7841E0CC-1FEA-0B42-88AD-6AE9D88B9FC1}" dt="2022-11-23T13:50:55.934" v="0"/>
          <ac:spMkLst>
            <pc:docMk/>
            <pc:sldMk cId="355896356" sldId="2147473308"/>
            <ac:spMk id="46" creationId="{42A8880E-C185-4971-B30B-A1399D1436EE}"/>
          </ac:spMkLst>
        </pc:spChg>
        <pc:spChg chg="mod">
          <ac:chgData name="Jussi SANE" userId="ea93c24b-dbd9-4d97-a8d9-5bde9d84aa5e" providerId="ADAL" clId="{7841E0CC-1FEA-0B42-88AD-6AE9D88B9FC1}" dt="2022-11-23T13:50:55.934" v="0"/>
          <ac:spMkLst>
            <pc:docMk/>
            <pc:sldMk cId="355896356" sldId="2147473308"/>
            <ac:spMk id="48" creationId="{C061AB32-EE8C-4D24-8221-22B5A7C63582}"/>
          </ac:spMkLst>
        </pc:spChg>
        <pc:spChg chg="mod">
          <ac:chgData name="Jussi SANE" userId="ea93c24b-dbd9-4d97-a8d9-5bde9d84aa5e" providerId="ADAL" clId="{7841E0CC-1FEA-0B42-88AD-6AE9D88B9FC1}" dt="2022-11-23T13:50:55.934" v="0"/>
          <ac:spMkLst>
            <pc:docMk/>
            <pc:sldMk cId="355896356" sldId="2147473308"/>
            <ac:spMk id="81" creationId="{7B6A0491-DFF8-4824-8A0F-85E47F20432C}"/>
          </ac:spMkLst>
        </pc:spChg>
        <pc:spChg chg="mod">
          <ac:chgData name="Jussi SANE" userId="ea93c24b-dbd9-4d97-a8d9-5bde9d84aa5e" providerId="ADAL" clId="{7841E0CC-1FEA-0B42-88AD-6AE9D88B9FC1}" dt="2022-11-23T13:50:55.934" v="0"/>
          <ac:spMkLst>
            <pc:docMk/>
            <pc:sldMk cId="355896356" sldId="2147473308"/>
            <ac:spMk id="107" creationId="{F95A1854-0772-4C10-AF10-F6553B1816C6}"/>
          </ac:spMkLst>
        </pc:spChg>
        <pc:grpChg chg="mod">
          <ac:chgData name="Jussi SANE" userId="ea93c24b-dbd9-4d97-a8d9-5bde9d84aa5e" providerId="ADAL" clId="{7841E0CC-1FEA-0B42-88AD-6AE9D88B9FC1}" dt="2022-11-23T13:50:55.934" v="0"/>
          <ac:grpSpMkLst>
            <pc:docMk/>
            <pc:sldMk cId="355896356" sldId="2147473308"/>
            <ac:grpSpMk id="1" creationId="{00000000-0000-0000-0000-000000000000}"/>
          </ac:grpSpMkLst>
        </pc:grpChg>
        <pc:graphicFrameChg chg="mod">
          <ac:chgData name="Jussi SANE" userId="ea93c24b-dbd9-4d97-a8d9-5bde9d84aa5e" providerId="ADAL" clId="{7841E0CC-1FEA-0B42-88AD-6AE9D88B9FC1}" dt="2022-11-23T13:50:55.934" v="0"/>
          <ac:graphicFrameMkLst>
            <pc:docMk/>
            <pc:sldMk cId="355896356" sldId="2147473308"/>
            <ac:graphicFrameMk id="3" creationId="{1C5B41B6-AF46-4282-BA05-B258BC1FD586}"/>
          </ac:graphicFrameMkLst>
        </pc:graphicFrameChg>
        <pc:picChg chg="mod">
          <ac:chgData name="Jussi SANE" userId="ea93c24b-dbd9-4d97-a8d9-5bde9d84aa5e" providerId="ADAL" clId="{7841E0CC-1FEA-0B42-88AD-6AE9D88B9FC1}" dt="2022-11-23T13:50:55.934" v="0"/>
          <ac:picMkLst>
            <pc:docMk/>
            <pc:sldMk cId="355896356" sldId="2147473308"/>
            <ac:picMk id="9" creationId="{06BDED99-B9D6-4652-8A58-2C8508308FBD}"/>
          </ac:picMkLst>
        </pc:picChg>
        <pc:picChg chg="mod">
          <ac:chgData name="Jussi SANE" userId="ea93c24b-dbd9-4d97-a8d9-5bde9d84aa5e" providerId="ADAL" clId="{7841E0CC-1FEA-0B42-88AD-6AE9D88B9FC1}" dt="2022-11-23T13:50:55.934" v="0"/>
          <ac:picMkLst>
            <pc:docMk/>
            <pc:sldMk cId="355896356" sldId="2147473308"/>
            <ac:picMk id="10" creationId="{D742ADAB-D234-4DEE-A1C6-12ED2127FDF7}"/>
          </ac:picMkLst>
        </pc:picChg>
        <pc:cxnChg chg="mod">
          <ac:chgData name="Jussi SANE" userId="ea93c24b-dbd9-4d97-a8d9-5bde9d84aa5e" providerId="ADAL" clId="{7841E0CC-1FEA-0B42-88AD-6AE9D88B9FC1}" dt="2022-11-23T13:50:55.934" v="0"/>
          <ac:cxnSpMkLst>
            <pc:docMk/>
            <pc:sldMk cId="355896356" sldId="2147473308"/>
            <ac:cxnSpMk id="6" creationId="{C150E2CF-6722-4194-A597-DCE2B729149B}"/>
          </ac:cxnSpMkLst>
        </pc:cxnChg>
        <pc:cxnChg chg="mod">
          <ac:chgData name="Jussi SANE" userId="ea93c24b-dbd9-4d97-a8d9-5bde9d84aa5e" providerId="ADAL" clId="{7841E0CC-1FEA-0B42-88AD-6AE9D88B9FC1}" dt="2022-11-23T13:50:55.934" v="0"/>
          <ac:cxnSpMkLst>
            <pc:docMk/>
            <pc:sldMk cId="355896356" sldId="2147473308"/>
            <ac:cxnSpMk id="105" creationId="{6F3C01C5-BD65-42A6-B04A-2EB4C404F58F}"/>
          </ac:cxnSpMkLst>
        </pc:cxnChg>
      </pc:sldChg>
      <pc:sldChg chg="modSp">
        <pc:chgData name="Jussi SANE" userId="ea93c24b-dbd9-4d97-a8d9-5bde9d84aa5e" providerId="ADAL" clId="{7841E0CC-1FEA-0B42-88AD-6AE9D88B9FC1}" dt="2022-11-23T13:50:55.934" v="0"/>
        <pc:sldMkLst>
          <pc:docMk/>
          <pc:sldMk cId="612548513" sldId="2147473310"/>
        </pc:sldMkLst>
        <pc:spChg chg="mod">
          <ac:chgData name="Jussi SANE" userId="ea93c24b-dbd9-4d97-a8d9-5bde9d84aa5e" providerId="ADAL" clId="{7841E0CC-1FEA-0B42-88AD-6AE9D88B9FC1}" dt="2022-11-23T13:50:55.934" v="0"/>
          <ac:spMkLst>
            <pc:docMk/>
            <pc:sldMk cId="612548513" sldId="2147473310"/>
            <ac:spMk id="4" creationId="{E2E51E17-417E-4026-84DC-FC90B87C027B}"/>
          </ac:spMkLst>
        </pc:spChg>
        <pc:spChg chg="mod">
          <ac:chgData name="Jussi SANE" userId="ea93c24b-dbd9-4d97-a8d9-5bde9d84aa5e" providerId="ADAL" clId="{7841E0CC-1FEA-0B42-88AD-6AE9D88B9FC1}" dt="2022-11-23T13:50:55.934" v="0"/>
          <ac:spMkLst>
            <pc:docMk/>
            <pc:sldMk cId="612548513" sldId="2147473310"/>
            <ac:spMk id="95" creationId="{F1D8048E-C766-489C-B6F7-98C098CF7915}"/>
          </ac:spMkLst>
        </pc:spChg>
        <pc:spChg chg="mod">
          <ac:chgData name="Jussi SANE" userId="ea93c24b-dbd9-4d97-a8d9-5bde9d84aa5e" providerId="ADAL" clId="{7841E0CC-1FEA-0B42-88AD-6AE9D88B9FC1}" dt="2022-11-23T13:50:55.934" v="0"/>
          <ac:spMkLst>
            <pc:docMk/>
            <pc:sldMk cId="612548513" sldId="2147473310"/>
            <ac:spMk id="96" creationId="{F6E1DD40-BEE9-4F1C-88D2-CEC722BD4516}"/>
          </ac:spMkLst>
        </pc:spChg>
        <pc:spChg chg="mod">
          <ac:chgData name="Jussi SANE" userId="ea93c24b-dbd9-4d97-a8d9-5bde9d84aa5e" providerId="ADAL" clId="{7841E0CC-1FEA-0B42-88AD-6AE9D88B9FC1}" dt="2022-11-23T13:50:55.934" v="0"/>
          <ac:spMkLst>
            <pc:docMk/>
            <pc:sldMk cId="612548513" sldId="2147473310"/>
            <ac:spMk id="98" creationId="{2AC3F51A-236B-444B-ABF8-0CD88724B7CC}"/>
          </ac:spMkLst>
        </pc:spChg>
        <pc:spChg chg="mod">
          <ac:chgData name="Jussi SANE" userId="ea93c24b-dbd9-4d97-a8d9-5bde9d84aa5e" providerId="ADAL" clId="{7841E0CC-1FEA-0B42-88AD-6AE9D88B9FC1}" dt="2022-11-23T13:50:55.934" v="0"/>
          <ac:spMkLst>
            <pc:docMk/>
            <pc:sldMk cId="612548513" sldId="2147473310"/>
            <ac:spMk id="99" creationId="{653133FB-4EBF-4FBD-89E2-FFD508CBED15}"/>
          </ac:spMkLst>
        </pc:spChg>
        <pc:spChg chg="mod">
          <ac:chgData name="Jussi SANE" userId="ea93c24b-dbd9-4d97-a8d9-5bde9d84aa5e" providerId="ADAL" clId="{7841E0CC-1FEA-0B42-88AD-6AE9D88B9FC1}" dt="2022-11-23T13:50:55.934" v="0"/>
          <ac:spMkLst>
            <pc:docMk/>
            <pc:sldMk cId="612548513" sldId="2147473310"/>
            <ac:spMk id="101" creationId="{2B86BE20-802E-47EE-B054-E902DD308D00}"/>
          </ac:spMkLst>
        </pc:spChg>
        <pc:spChg chg="mod">
          <ac:chgData name="Jussi SANE" userId="ea93c24b-dbd9-4d97-a8d9-5bde9d84aa5e" providerId="ADAL" clId="{7841E0CC-1FEA-0B42-88AD-6AE9D88B9FC1}" dt="2022-11-23T13:50:55.934" v="0"/>
          <ac:spMkLst>
            <pc:docMk/>
            <pc:sldMk cId="612548513" sldId="2147473310"/>
            <ac:spMk id="103" creationId="{BFBBAE41-ACDE-4D4C-8F42-DE935B5108E2}"/>
          </ac:spMkLst>
        </pc:spChg>
        <pc:spChg chg="mod">
          <ac:chgData name="Jussi SANE" userId="ea93c24b-dbd9-4d97-a8d9-5bde9d84aa5e" providerId="ADAL" clId="{7841E0CC-1FEA-0B42-88AD-6AE9D88B9FC1}" dt="2022-11-23T13:50:55.934" v="0"/>
          <ac:spMkLst>
            <pc:docMk/>
            <pc:sldMk cId="612548513" sldId="2147473310"/>
            <ac:spMk id="104" creationId="{709CAF62-E58C-4E24-B178-22770A7CE35C}"/>
          </ac:spMkLst>
        </pc:spChg>
        <pc:spChg chg="mod">
          <ac:chgData name="Jussi SANE" userId="ea93c24b-dbd9-4d97-a8d9-5bde9d84aa5e" providerId="ADAL" clId="{7841E0CC-1FEA-0B42-88AD-6AE9D88B9FC1}" dt="2022-11-23T13:50:55.934" v="0"/>
          <ac:spMkLst>
            <pc:docMk/>
            <pc:sldMk cId="612548513" sldId="2147473310"/>
            <ac:spMk id="125" creationId="{CEBFF1FD-9584-446D-844C-8CAA8E8AB231}"/>
          </ac:spMkLst>
        </pc:spChg>
        <pc:spChg chg="mod">
          <ac:chgData name="Jussi SANE" userId="ea93c24b-dbd9-4d97-a8d9-5bde9d84aa5e" providerId="ADAL" clId="{7841E0CC-1FEA-0B42-88AD-6AE9D88B9FC1}" dt="2022-11-23T13:50:55.934" v="0"/>
          <ac:spMkLst>
            <pc:docMk/>
            <pc:sldMk cId="612548513" sldId="2147473310"/>
            <ac:spMk id="131" creationId="{D5563F17-6F68-4AF5-9DE6-0E3280734ED6}"/>
          </ac:spMkLst>
        </pc:spChg>
        <pc:spChg chg="mod">
          <ac:chgData name="Jussi SANE" userId="ea93c24b-dbd9-4d97-a8d9-5bde9d84aa5e" providerId="ADAL" clId="{7841E0CC-1FEA-0B42-88AD-6AE9D88B9FC1}" dt="2022-11-23T13:50:55.934" v="0"/>
          <ac:spMkLst>
            <pc:docMk/>
            <pc:sldMk cId="612548513" sldId="2147473310"/>
            <ac:spMk id="132" creationId="{5080223A-4A80-47DB-A4CC-FEED9453A7FE}"/>
          </ac:spMkLst>
        </pc:spChg>
        <pc:spChg chg="mod">
          <ac:chgData name="Jussi SANE" userId="ea93c24b-dbd9-4d97-a8d9-5bde9d84aa5e" providerId="ADAL" clId="{7841E0CC-1FEA-0B42-88AD-6AE9D88B9FC1}" dt="2022-11-23T13:50:55.934" v="0"/>
          <ac:spMkLst>
            <pc:docMk/>
            <pc:sldMk cId="612548513" sldId="2147473310"/>
            <ac:spMk id="133" creationId="{0A0CE744-6839-4E55-B5FE-73DFC0AE9DD7}"/>
          </ac:spMkLst>
        </pc:spChg>
        <pc:spChg chg="mod">
          <ac:chgData name="Jussi SANE" userId="ea93c24b-dbd9-4d97-a8d9-5bde9d84aa5e" providerId="ADAL" clId="{7841E0CC-1FEA-0B42-88AD-6AE9D88B9FC1}" dt="2022-11-23T13:50:55.934" v="0"/>
          <ac:spMkLst>
            <pc:docMk/>
            <pc:sldMk cId="612548513" sldId="2147473310"/>
            <ac:spMk id="135" creationId="{13EC7F53-3845-4528-99C4-5490F0BCED5D}"/>
          </ac:spMkLst>
        </pc:spChg>
        <pc:spChg chg="mod">
          <ac:chgData name="Jussi SANE" userId="ea93c24b-dbd9-4d97-a8d9-5bde9d84aa5e" providerId="ADAL" clId="{7841E0CC-1FEA-0B42-88AD-6AE9D88B9FC1}" dt="2022-11-23T13:50:55.934" v="0"/>
          <ac:spMkLst>
            <pc:docMk/>
            <pc:sldMk cId="612548513" sldId="2147473310"/>
            <ac:spMk id="140" creationId="{FD687BF8-1890-4CE8-BE75-18DD2FAEFBC8}"/>
          </ac:spMkLst>
        </pc:spChg>
        <pc:spChg chg="mod">
          <ac:chgData name="Jussi SANE" userId="ea93c24b-dbd9-4d97-a8d9-5bde9d84aa5e" providerId="ADAL" clId="{7841E0CC-1FEA-0B42-88AD-6AE9D88B9FC1}" dt="2022-11-23T13:50:55.934" v="0"/>
          <ac:spMkLst>
            <pc:docMk/>
            <pc:sldMk cId="612548513" sldId="2147473310"/>
            <ac:spMk id="144" creationId="{983F7CC5-BF86-406D-AFA3-D637013B2A88}"/>
          </ac:spMkLst>
        </pc:spChg>
        <pc:spChg chg="mod">
          <ac:chgData name="Jussi SANE" userId="ea93c24b-dbd9-4d97-a8d9-5bde9d84aa5e" providerId="ADAL" clId="{7841E0CC-1FEA-0B42-88AD-6AE9D88B9FC1}" dt="2022-11-23T13:50:55.934" v="0"/>
          <ac:spMkLst>
            <pc:docMk/>
            <pc:sldMk cId="612548513" sldId="2147473310"/>
            <ac:spMk id="146" creationId="{F6A9429E-ABE5-4E9B-80A1-26ACE1FB3239}"/>
          </ac:spMkLst>
        </pc:spChg>
        <pc:spChg chg="mod">
          <ac:chgData name="Jussi SANE" userId="ea93c24b-dbd9-4d97-a8d9-5bde9d84aa5e" providerId="ADAL" clId="{7841E0CC-1FEA-0B42-88AD-6AE9D88B9FC1}" dt="2022-11-23T13:50:55.934" v="0"/>
          <ac:spMkLst>
            <pc:docMk/>
            <pc:sldMk cId="612548513" sldId="2147473310"/>
            <ac:spMk id="148" creationId="{EC9D5F1D-3660-4544-B635-38E0B10E514C}"/>
          </ac:spMkLst>
        </pc:spChg>
        <pc:spChg chg="mod">
          <ac:chgData name="Jussi SANE" userId="ea93c24b-dbd9-4d97-a8d9-5bde9d84aa5e" providerId="ADAL" clId="{7841E0CC-1FEA-0B42-88AD-6AE9D88B9FC1}" dt="2022-11-23T13:50:55.934" v="0"/>
          <ac:spMkLst>
            <pc:docMk/>
            <pc:sldMk cId="612548513" sldId="2147473310"/>
            <ac:spMk id="149" creationId="{B7CEBEEE-667E-42DE-B6B6-7D6F30AD3F8D}"/>
          </ac:spMkLst>
        </pc:spChg>
        <pc:grpChg chg="mod">
          <ac:chgData name="Jussi SANE" userId="ea93c24b-dbd9-4d97-a8d9-5bde9d84aa5e" providerId="ADAL" clId="{7841E0CC-1FEA-0B42-88AD-6AE9D88B9FC1}" dt="2022-11-23T13:50:55.934" v="0"/>
          <ac:grpSpMkLst>
            <pc:docMk/>
            <pc:sldMk cId="612548513" sldId="2147473310"/>
            <ac:grpSpMk id="1" creationId="{00000000-0000-0000-0000-000000000000}"/>
          </ac:grpSpMkLst>
        </pc:grpChg>
        <pc:grpChg chg="mod">
          <ac:chgData name="Jussi SANE" userId="ea93c24b-dbd9-4d97-a8d9-5bde9d84aa5e" providerId="ADAL" clId="{7841E0CC-1FEA-0B42-88AD-6AE9D88B9FC1}" dt="2022-11-23T13:50:55.934" v="0"/>
          <ac:grpSpMkLst>
            <pc:docMk/>
            <pc:sldMk cId="612548513" sldId="2147473310"/>
            <ac:grpSpMk id="100" creationId="{9FF00684-C9E8-4666-94C6-01C6F2DC1349}"/>
          </ac:grpSpMkLst>
        </pc:grpChg>
        <pc:grpChg chg="mod">
          <ac:chgData name="Jussi SANE" userId="ea93c24b-dbd9-4d97-a8d9-5bde9d84aa5e" providerId="ADAL" clId="{7841E0CC-1FEA-0B42-88AD-6AE9D88B9FC1}" dt="2022-11-23T13:50:55.934" v="0"/>
          <ac:grpSpMkLst>
            <pc:docMk/>
            <pc:sldMk cId="612548513" sldId="2147473310"/>
            <ac:grpSpMk id="102" creationId="{8D0DCEB6-82F6-4B61-8E4E-587CBB67C071}"/>
          </ac:grpSpMkLst>
        </pc:grpChg>
        <pc:graphicFrameChg chg="mod">
          <ac:chgData name="Jussi SANE" userId="ea93c24b-dbd9-4d97-a8d9-5bde9d84aa5e" providerId="ADAL" clId="{7841E0CC-1FEA-0B42-88AD-6AE9D88B9FC1}" dt="2022-11-23T13:50:55.934" v="0"/>
          <ac:graphicFrameMkLst>
            <pc:docMk/>
            <pc:sldMk cId="612548513" sldId="2147473310"/>
            <ac:graphicFrameMk id="5" creationId="{0B52C5AC-330D-4BC7-985E-A3F294E95E6C}"/>
          </ac:graphicFrameMkLst>
        </pc:graphicFrameChg>
        <pc:picChg chg="mod">
          <ac:chgData name="Jussi SANE" userId="ea93c24b-dbd9-4d97-a8d9-5bde9d84aa5e" providerId="ADAL" clId="{7841E0CC-1FEA-0B42-88AD-6AE9D88B9FC1}" dt="2022-11-23T13:50:55.934" v="0"/>
          <ac:picMkLst>
            <pc:docMk/>
            <pc:sldMk cId="612548513" sldId="2147473310"/>
            <ac:picMk id="97" creationId="{9AF433F1-2793-49E3-A27A-4C33A1E06530}"/>
          </ac:picMkLst>
        </pc:picChg>
        <pc:cxnChg chg="mod">
          <ac:chgData name="Jussi SANE" userId="ea93c24b-dbd9-4d97-a8d9-5bde9d84aa5e" providerId="ADAL" clId="{7841E0CC-1FEA-0B42-88AD-6AE9D88B9FC1}" dt="2022-11-23T13:50:55.934" v="0"/>
          <ac:cxnSpMkLst>
            <pc:docMk/>
            <pc:sldMk cId="612548513" sldId="2147473310"/>
            <ac:cxnSpMk id="130" creationId="{F45256BB-DFB3-490A-ACA8-FA642F0373CB}"/>
          </ac:cxnSpMkLst>
        </pc:cxnChg>
        <pc:cxnChg chg="mod">
          <ac:chgData name="Jussi SANE" userId="ea93c24b-dbd9-4d97-a8d9-5bde9d84aa5e" providerId="ADAL" clId="{7841E0CC-1FEA-0B42-88AD-6AE9D88B9FC1}" dt="2022-11-23T13:50:55.934" v="0"/>
          <ac:cxnSpMkLst>
            <pc:docMk/>
            <pc:sldMk cId="612548513" sldId="2147473310"/>
            <ac:cxnSpMk id="134" creationId="{55189258-CB03-4B22-B7E0-3402ED320D9A}"/>
          </ac:cxnSpMkLst>
        </pc:cxnChg>
        <pc:cxnChg chg="mod">
          <ac:chgData name="Jussi SANE" userId="ea93c24b-dbd9-4d97-a8d9-5bde9d84aa5e" providerId="ADAL" clId="{7841E0CC-1FEA-0B42-88AD-6AE9D88B9FC1}" dt="2022-11-23T13:50:55.934" v="0"/>
          <ac:cxnSpMkLst>
            <pc:docMk/>
            <pc:sldMk cId="612548513" sldId="2147473310"/>
            <ac:cxnSpMk id="136" creationId="{5C66B816-4A19-46D6-8EE0-8E73F4A674A6}"/>
          </ac:cxnSpMkLst>
        </pc:cxnChg>
        <pc:cxnChg chg="mod">
          <ac:chgData name="Jussi SANE" userId="ea93c24b-dbd9-4d97-a8d9-5bde9d84aa5e" providerId="ADAL" clId="{7841E0CC-1FEA-0B42-88AD-6AE9D88B9FC1}" dt="2022-11-23T13:50:55.934" v="0"/>
          <ac:cxnSpMkLst>
            <pc:docMk/>
            <pc:sldMk cId="612548513" sldId="2147473310"/>
            <ac:cxnSpMk id="137" creationId="{E809387B-10CA-465B-8E97-1AB97A4C5182}"/>
          </ac:cxnSpMkLst>
        </pc:cxnChg>
        <pc:cxnChg chg="mod">
          <ac:chgData name="Jussi SANE" userId="ea93c24b-dbd9-4d97-a8d9-5bde9d84aa5e" providerId="ADAL" clId="{7841E0CC-1FEA-0B42-88AD-6AE9D88B9FC1}" dt="2022-11-23T13:50:55.934" v="0"/>
          <ac:cxnSpMkLst>
            <pc:docMk/>
            <pc:sldMk cId="612548513" sldId="2147473310"/>
            <ac:cxnSpMk id="138" creationId="{8F8DE814-30DA-42FB-BE26-F09B974555C3}"/>
          </ac:cxnSpMkLst>
        </pc:cxnChg>
        <pc:cxnChg chg="mod">
          <ac:chgData name="Jussi SANE" userId="ea93c24b-dbd9-4d97-a8d9-5bde9d84aa5e" providerId="ADAL" clId="{7841E0CC-1FEA-0B42-88AD-6AE9D88B9FC1}" dt="2022-11-23T13:50:55.934" v="0"/>
          <ac:cxnSpMkLst>
            <pc:docMk/>
            <pc:sldMk cId="612548513" sldId="2147473310"/>
            <ac:cxnSpMk id="139" creationId="{9FCEB6E7-B9B2-47C7-AA20-F65D43D96315}"/>
          </ac:cxnSpMkLst>
        </pc:cxnChg>
        <pc:cxnChg chg="mod">
          <ac:chgData name="Jussi SANE" userId="ea93c24b-dbd9-4d97-a8d9-5bde9d84aa5e" providerId="ADAL" clId="{7841E0CC-1FEA-0B42-88AD-6AE9D88B9FC1}" dt="2022-11-23T13:50:55.934" v="0"/>
          <ac:cxnSpMkLst>
            <pc:docMk/>
            <pc:sldMk cId="612548513" sldId="2147473310"/>
            <ac:cxnSpMk id="141" creationId="{AF96CC0D-FD2F-415E-B054-406E38C74DA2}"/>
          </ac:cxnSpMkLst>
        </pc:cxnChg>
        <pc:cxnChg chg="mod">
          <ac:chgData name="Jussi SANE" userId="ea93c24b-dbd9-4d97-a8d9-5bde9d84aa5e" providerId="ADAL" clId="{7841E0CC-1FEA-0B42-88AD-6AE9D88B9FC1}" dt="2022-11-23T13:50:55.934" v="0"/>
          <ac:cxnSpMkLst>
            <pc:docMk/>
            <pc:sldMk cId="612548513" sldId="2147473310"/>
            <ac:cxnSpMk id="142" creationId="{48DC5659-D2A4-4B0A-86FA-E83419E10644}"/>
          </ac:cxnSpMkLst>
        </pc:cxnChg>
        <pc:cxnChg chg="mod">
          <ac:chgData name="Jussi SANE" userId="ea93c24b-dbd9-4d97-a8d9-5bde9d84aa5e" providerId="ADAL" clId="{7841E0CC-1FEA-0B42-88AD-6AE9D88B9FC1}" dt="2022-11-23T13:50:55.934" v="0"/>
          <ac:cxnSpMkLst>
            <pc:docMk/>
            <pc:sldMk cId="612548513" sldId="2147473310"/>
            <ac:cxnSpMk id="143" creationId="{45527875-016F-48DB-8A2D-00135FD6ECBC}"/>
          </ac:cxnSpMkLst>
        </pc:cxnChg>
        <pc:cxnChg chg="mod">
          <ac:chgData name="Jussi SANE" userId="ea93c24b-dbd9-4d97-a8d9-5bde9d84aa5e" providerId="ADAL" clId="{7841E0CC-1FEA-0B42-88AD-6AE9D88B9FC1}" dt="2022-11-23T13:50:55.934" v="0"/>
          <ac:cxnSpMkLst>
            <pc:docMk/>
            <pc:sldMk cId="612548513" sldId="2147473310"/>
            <ac:cxnSpMk id="145" creationId="{C6FBF40C-D6F7-4322-8C11-F28B680063B1}"/>
          </ac:cxnSpMkLst>
        </pc:cxnChg>
        <pc:cxnChg chg="mod">
          <ac:chgData name="Jussi SANE" userId="ea93c24b-dbd9-4d97-a8d9-5bde9d84aa5e" providerId="ADAL" clId="{7841E0CC-1FEA-0B42-88AD-6AE9D88B9FC1}" dt="2022-11-23T13:50:55.934" v="0"/>
          <ac:cxnSpMkLst>
            <pc:docMk/>
            <pc:sldMk cId="612548513" sldId="2147473310"/>
            <ac:cxnSpMk id="147" creationId="{4DED97AF-8670-4AFE-A3A2-D877F005E5FD}"/>
          </ac:cxnSpMkLst>
        </pc:cxnChg>
      </pc:sldChg>
      <pc:sldChg chg="modSp add del mod">
        <pc:chgData name="Jussi SANE" userId="ea93c24b-dbd9-4d97-a8d9-5bde9d84aa5e" providerId="ADAL" clId="{7841E0CC-1FEA-0B42-88AD-6AE9D88B9FC1}" dt="2022-11-23T13:51:22.587" v="56" actId="404"/>
        <pc:sldMkLst>
          <pc:docMk/>
          <pc:sldMk cId="2949508644" sldId="2147473318"/>
        </pc:sldMkLst>
        <pc:spChg chg="mod">
          <ac:chgData name="Jussi SANE" userId="ea93c24b-dbd9-4d97-a8d9-5bde9d84aa5e" providerId="ADAL" clId="{7841E0CC-1FEA-0B42-88AD-6AE9D88B9FC1}" dt="2022-11-23T13:50:57.816" v="3"/>
          <ac:spMkLst>
            <pc:docMk/>
            <pc:sldMk cId="2949508644" sldId="2147473318"/>
            <ac:spMk id="7" creationId="{EB7BA8EE-DBF7-4E1C-AFB9-154F012740CA}"/>
          </ac:spMkLst>
        </pc:spChg>
        <pc:graphicFrameChg chg="mod">
          <ac:chgData name="Jussi SANE" userId="ea93c24b-dbd9-4d97-a8d9-5bde9d84aa5e" providerId="ADAL" clId="{7841E0CC-1FEA-0B42-88AD-6AE9D88B9FC1}" dt="2022-11-23T13:51:22.587" v="56" actId="404"/>
          <ac:graphicFrameMkLst>
            <pc:docMk/>
            <pc:sldMk cId="2949508644" sldId="2147473318"/>
            <ac:graphicFrameMk id="4" creationId="{C938052B-8F1C-4AAF-9BD4-28925C269F28}"/>
          </ac:graphicFrameMkLst>
        </pc:graphicFrameChg>
      </pc:sldChg>
    </pc:docChg>
  </pc:docChgLst>
  <pc:docChgLst>
    <pc:chgData name="SANE, Jussi" userId="S::sanej@who.int::ea93c24b-dbd9-4d97-a8d9-5bde9d84aa5e" providerId="AD" clId="Web-{288448F7-3DB7-F8AF-165B-B4B9E47669FB}"/>
    <pc:docChg chg="modSld">
      <pc:chgData name="SANE, Jussi" userId="S::sanej@who.int::ea93c24b-dbd9-4d97-a8d9-5bde9d84aa5e" providerId="AD" clId="Web-{288448F7-3DB7-F8AF-165B-B4B9E47669FB}" dt="2022-11-23T14:47:18.293" v="6"/>
      <pc:docMkLst>
        <pc:docMk/>
      </pc:docMkLst>
      <pc:sldChg chg="addSp modSp">
        <pc:chgData name="SANE, Jussi" userId="S::sanej@who.int::ea93c24b-dbd9-4d97-a8d9-5bde9d84aa5e" providerId="AD" clId="Web-{288448F7-3DB7-F8AF-165B-B4B9E47669FB}" dt="2022-11-23T14:47:18.293" v="6"/>
        <pc:sldMkLst>
          <pc:docMk/>
          <pc:sldMk cId="4250193056" sldId="2147473294"/>
        </pc:sldMkLst>
        <pc:spChg chg="add mod">
          <ac:chgData name="SANE, Jussi" userId="S::sanej@who.int::ea93c24b-dbd9-4d97-a8d9-5bde9d84aa5e" providerId="AD" clId="Web-{288448F7-3DB7-F8AF-165B-B4B9E47669FB}" dt="2022-11-23T14:47:18.293" v="6"/>
          <ac:spMkLst>
            <pc:docMk/>
            <pc:sldMk cId="4250193056" sldId="2147473294"/>
            <ac:spMk id="3" creationId="{FFF8882E-CC4E-4D8B-2945-41A6AD6AB6BE}"/>
          </ac:spMkLst>
        </pc:spChg>
      </pc:sldChg>
    </pc:docChg>
  </pc:docChgLst>
  <pc:docChgLst>
    <pc:chgData name="SANE, Jussi" userId="S::sanej@who.int::ea93c24b-dbd9-4d97-a8d9-5bde9d84aa5e" providerId="AD" clId="Web-{79A01CFB-4168-1D4D-F8B7-E941481A0330}"/>
    <pc:docChg chg="modSld">
      <pc:chgData name="SANE, Jussi" userId="S::sanej@who.int::ea93c24b-dbd9-4d97-a8d9-5bde9d84aa5e" providerId="AD" clId="Web-{79A01CFB-4168-1D4D-F8B7-E941481A0330}" dt="2022-11-24T05:26:49.426" v="4"/>
      <pc:docMkLst>
        <pc:docMk/>
      </pc:docMkLst>
      <pc:sldChg chg="delSp">
        <pc:chgData name="SANE, Jussi" userId="S::sanej@who.int::ea93c24b-dbd9-4d97-a8d9-5bde9d84aa5e" providerId="AD" clId="Web-{79A01CFB-4168-1D4D-F8B7-E941481A0330}" dt="2022-11-24T05:26:49.426" v="4"/>
        <pc:sldMkLst>
          <pc:docMk/>
          <pc:sldMk cId="1555667586" sldId="2147375786"/>
        </pc:sldMkLst>
        <pc:spChg chg="del">
          <ac:chgData name="SANE, Jussi" userId="S::sanej@who.int::ea93c24b-dbd9-4d97-a8d9-5bde9d84aa5e" providerId="AD" clId="Web-{79A01CFB-4168-1D4D-F8B7-E941481A0330}" dt="2022-11-24T05:26:49.426" v="4"/>
          <ac:spMkLst>
            <pc:docMk/>
            <pc:sldMk cId="1555667586" sldId="2147375786"/>
            <ac:spMk id="6" creationId="{00000000-0000-0000-0000-000000000000}"/>
          </ac:spMkLst>
        </pc:spChg>
      </pc:sldChg>
      <pc:sldChg chg="modSp">
        <pc:chgData name="SANE, Jussi" userId="S::sanej@who.int::ea93c24b-dbd9-4d97-a8d9-5bde9d84aa5e" providerId="AD" clId="Web-{79A01CFB-4168-1D4D-F8B7-E941481A0330}" dt="2022-11-24T05:26:20.066" v="3" actId="20577"/>
        <pc:sldMkLst>
          <pc:docMk/>
          <pc:sldMk cId="1669498880" sldId="2147375794"/>
        </pc:sldMkLst>
        <pc:spChg chg="mod">
          <ac:chgData name="SANE, Jussi" userId="S::sanej@who.int::ea93c24b-dbd9-4d97-a8d9-5bde9d84aa5e" providerId="AD" clId="Web-{79A01CFB-4168-1D4D-F8B7-E941481A0330}" dt="2022-11-24T05:26:20.066" v="3" actId="20577"/>
          <ac:spMkLst>
            <pc:docMk/>
            <pc:sldMk cId="1669498880" sldId="2147375794"/>
            <ac:spMk id="14" creationId="{7979B546-9D40-477E-8404-6622AA00494F}"/>
          </ac:spMkLst>
        </pc:spChg>
      </pc:sldChg>
    </pc:docChg>
  </pc:docChgLst>
  <pc:docChgLst>
    <pc:chgData name="SANE, Jussi" userId="S::sanej@who.int::ea93c24b-dbd9-4d97-a8d9-5bde9d84aa5e" providerId="AD" clId="Web-{7E9083CA-5F6A-82A4-6175-809C2A719821}"/>
    <pc:docChg chg="delSld">
      <pc:chgData name="SANE, Jussi" userId="S::sanej@who.int::ea93c24b-dbd9-4d97-a8d9-5bde9d84aa5e" providerId="AD" clId="Web-{7E9083CA-5F6A-82A4-6175-809C2A719821}" dt="2022-11-23T14:40:28.507" v="1"/>
      <pc:docMkLst>
        <pc:docMk/>
      </pc:docMkLst>
      <pc:sldChg chg="del">
        <pc:chgData name="SANE, Jussi" userId="S::sanej@who.int::ea93c24b-dbd9-4d97-a8d9-5bde9d84aa5e" providerId="AD" clId="Web-{7E9083CA-5F6A-82A4-6175-809C2A719821}" dt="2022-11-23T14:40:28.507" v="1"/>
        <pc:sldMkLst>
          <pc:docMk/>
          <pc:sldMk cId="2150929915" sldId="2147473296"/>
        </pc:sldMkLst>
      </pc:sldChg>
      <pc:sldChg chg="del">
        <pc:chgData name="SANE, Jussi" userId="S::sanej@who.int::ea93c24b-dbd9-4d97-a8d9-5bde9d84aa5e" providerId="AD" clId="Web-{7E9083CA-5F6A-82A4-6175-809C2A719821}" dt="2022-11-23T14:40:10.100" v="0"/>
        <pc:sldMkLst>
          <pc:docMk/>
          <pc:sldMk cId="45498965" sldId="2147473304"/>
        </pc:sldMkLst>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sv-SE" sz="1600" b="1">
                <a:solidFill>
                  <a:schemeClr val="tx1"/>
                </a:solidFill>
              </a:rPr>
              <a:t>IHR Core capacity average reported in </a:t>
            </a:r>
            <a:r>
              <a:rPr lang="sv-SE" sz="1600" b="1" baseline="0">
                <a:solidFill>
                  <a:schemeClr val="tx1"/>
                </a:solidFill>
              </a:rPr>
              <a:t>2021</a:t>
            </a:r>
            <a:endParaRPr lang="sv-SE" sz="1600" b="1">
              <a:solidFill>
                <a:schemeClr val="tx1"/>
              </a:solidFill>
            </a:endParaRPr>
          </a:p>
        </c:rich>
      </c:tx>
      <c:layout>
        <c:manualLayout>
          <c:xMode val="edge"/>
          <c:yMode val="edge"/>
          <c:x val="0.10177889466285706"/>
          <c:y val="2.8375837951898575E-2"/>
        </c:manualLayout>
      </c:layout>
      <c:overlay val="0"/>
      <c:spPr>
        <a:noFill/>
        <a:ln>
          <a:noFill/>
        </a:ln>
        <a:effectLst/>
      </c:spPr>
    </c:title>
    <c:autoTitleDeleted val="0"/>
    <c:plotArea>
      <c:layout>
        <c:manualLayout>
          <c:layoutTarget val="inner"/>
          <c:xMode val="edge"/>
          <c:yMode val="edge"/>
          <c:x val="0.10279999673366547"/>
          <c:y val="0.20975179970264435"/>
          <c:w val="0.89576071500778198"/>
          <c:h val="0.55439215898513794"/>
        </c:manualLayout>
      </c:layout>
      <c:barChart>
        <c:barDir val="col"/>
        <c:grouping val="clustered"/>
        <c:varyColors val="0"/>
        <c:ser>
          <c:idx val="0"/>
          <c:order val="0"/>
          <c:tx>
            <c:strRef>
              <c:f>Blad1!$B$1</c:f>
              <c:strCache>
                <c:ptCount val="1"/>
                <c:pt idx="0">
                  <c:v>Regional average based on 47 submissions</c:v>
                </c:pt>
              </c:strCache>
            </c:strRef>
          </c:tx>
          <c:spPr>
            <a:solidFill>
              <a:schemeClr val="accent1"/>
            </a:solidFill>
            <a:ln>
              <a:noFill/>
            </a:ln>
            <a:effectLst/>
          </c:spPr>
          <c:invertIfNegative val="0"/>
          <c:dLbls>
            <c:dLbl>
              <c:idx val="1"/>
              <c:tx>
                <c:rich>
                  <a:bodyPr/>
                  <a:lstStyle/>
                  <a:p>
                    <a:fld id="{A826C616-A78D-4E89-B8FC-13AC0FA2B2C5}"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1-AA04-446D-935F-6F6E311FE905}"/>
                </c:ext>
              </c:extLst>
            </c:dLbl>
            <c:dLbl>
              <c:idx val="2"/>
              <c:layout>
                <c:manualLayout>
                  <c:x val="4.3395203538239002E-3"/>
                  <c:y val="0"/>
                </c:manualLayout>
              </c:layout>
              <c:tx>
                <c:rich>
                  <a:bodyPr/>
                  <a:lstStyle/>
                  <a:p>
                    <a:fld id="{4BE7BD53-111A-4EAE-A786-43D9E50D76A7}"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2-AA04-446D-935F-6F6E311FE905}"/>
                </c:ext>
              </c:extLst>
            </c:dLbl>
            <c:dLbl>
              <c:idx val="3"/>
              <c:tx>
                <c:rich>
                  <a:bodyPr/>
                  <a:lstStyle/>
                  <a:p>
                    <a:fld id="{52ED9CC3-860B-4856-8E13-1C312325D6A3}"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3-AA04-446D-935F-6F6E311FE905}"/>
                </c:ext>
              </c:extLst>
            </c:dLbl>
            <c:dLbl>
              <c:idx val="4"/>
              <c:layout>
                <c:manualLayout>
                  <c:x val="7.6964050531387329E-3"/>
                  <c:y val="-3.2424568198621273E-3"/>
                </c:manualLayout>
              </c:layout>
              <c:tx>
                <c:rich>
                  <a:bodyPr/>
                  <a:lstStyle/>
                  <a:p>
                    <a:fld id="{859408B4-426B-4371-AB92-2CC714BDA368}"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4-AA04-446D-935F-6F6E311FE905}"/>
                </c:ext>
              </c:extLst>
            </c:dLbl>
            <c:dLbl>
              <c:idx val="5"/>
              <c:layout>
                <c:manualLayout>
                  <c:x val="8.6790407076478004E-3"/>
                  <c:y val="0"/>
                </c:manualLayout>
              </c:layout>
              <c:tx>
                <c:rich>
                  <a:bodyPr/>
                  <a:lstStyle/>
                  <a:p>
                    <a:fld id="{8D46F058-A29C-497A-9894-49199A9E0502}"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5-AA04-446D-935F-6F6E311FE905}"/>
                </c:ext>
              </c:extLst>
            </c:dLbl>
            <c:dLbl>
              <c:idx val="6"/>
              <c:tx>
                <c:rich>
                  <a:bodyPr/>
                  <a:lstStyle/>
                  <a:p>
                    <a:fld id="{967272C9-8096-4D71-AE4A-7CA354CEA582}"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6-AA04-446D-935F-6F6E311FE905}"/>
                </c:ext>
              </c:extLst>
            </c:dLbl>
            <c:dLbl>
              <c:idx val="7"/>
              <c:tx>
                <c:rich>
                  <a:bodyPr/>
                  <a:lstStyle/>
                  <a:p>
                    <a:fld id="{7AB2F308-EBC8-4753-875D-979CA1CD1D35}"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7-AA04-446D-935F-6F6E311FE905}"/>
                </c:ext>
              </c:extLst>
            </c:dLbl>
            <c:dLbl>
              <c:idx val="8"/>
              <c:tx>
                <c:rich>
                  <a:bodyPr/>
                  <a:lstStyle/>
                  <a:p>
                    <a:fld id="{3067E370-DE43-4257-8D98-5ECF66ABB5B7}"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8-AA04-446D-935F-6F6E311FE905}"/>
                </c:ext>
              </c:extLst>
            </c:dLbl>
            <c:dLbl>
              <c:idx val="9"/>
              <c:tx>
                <c:rich>
                  <a:bodyPr/>
                  <a:lstStyle/>
                  <a:p>
                    <a:fld id="{E58C922B-B901-4C95-94D9-E6431131599A}"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9-AA04-446D-935F-6F6E311FE905}"/>
                </c:ext>
              </c:extLst>
            </c:dLbl>
            <c:dLbl>
              <c:idx val="10"/>
              <c:tx>
                <c:rich>
                  <a:bodyPr/>
                  <a:lstStyle/>
                  <a:p>
                    <a:fld id="{B0FB078B-71E5-4EA9-A7B0-0ADB17FD2FF5}"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A-AA04-446D-935F-6F6E311FE905}"/>
                </c:ext>
              </c:extLst>
            </c:dLbl>
            <c:dLbl>
              <c:idx val="11"/>
              <c:tx>
                <c:rich>
                  <a:bodyPr/>
                  <a:lstStyle/>
                  <a:p>
                    <a:fld id="{60305D7A-1B7F-41E5-AD51-BB3DAFEC30DA}"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B-AA04-446D-935F-6F6E311FE905}"/>
                </c:ext>
              </c:extLst>
            </c:dLbl>
            <c:dLbl>
              <c:idx val="12"/>
              <c:tx>
                <c:rich>
                  <a:bodyPr/>
                  <a:lstStyle/>
                  <a:p>
                    <a:fld id="{33E080F1-1D32-4BF6-B868-50E777388BFB}"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C-AA04-446D-935F-6F6E311FE905}"/>
                </c:ext>
              </c:extLst>
            </c:dLbl>
            <c:dLbl>
              <c:idx val="13"/>
              <c:tx>
                <c:rich>
                  <a:bodyPr/>
                  <a:lstStyle/>
                  <a:p>
                    <a:fld id="{726387CD-E2DF-455D-8B60-EE11984DC8AD}"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D-AA04-446D-935F-6F6E311FE905}"/>
                </c:ext>
              </c:extLst>
            </c:dLbl>
            <c:dLbl>
              <c:idx val="14"/>
              <c:tx>
                <c:rich>
                  <a:bodyPr/>
                  <a:lstStyle/>
                  <a:p>
                    <a:fld id="{99F0AAAA-BB7B-4803-9C3B-2E7CD9B7954A}" type="VALUE">
                      <a:rPr lang="en-US" altLang="zh-CN" smtClean="0"/>
                      <a:pPr/>
                      <a:t>[值]</a:t>
                    </a:fld>
                    <a:r>
                      <a:rPr lang="en-US"/>
                      <a:t>%</a:t>
                    </a:r>
                  </a:p>
                </c:rich>
              </c:tx>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0-E6D8-4912-854E-CBC10666B1E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tx1"/>
                    </a:solidFill>
                    <a:latin typeface="+mn-lt"/>
                    <a:ea typeface="+mn-ea"/>
                    <a:cs typeface="+mn-cs"/>
                  </a:defRPr>
                </a:pPr>
                <a:endParaRPr lang="zh-CN"/>
              </a:p>
            </c:txPr>
            <c:showLegendKey val="0"/>
            <c:showVal val="1"/>
            <c:showCatName val="0"/>
            <c:showSerName val="0"/>
            <c:showPercent val="0"/>
            <c:showBubbleSize val="0"/>
            <c:showLeaderLines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Blad1!$A$2:$A$16</c:f>
              <c:strCache>
                <c:ptCount val="15"/>
                <c:pt idx="0">
                  <c:v>C.1</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strCache>
            </c:strRef>
          </c:cat>
          <c:val>
            <c:numRef>
              <c:f>Blad1!$B$2:$B$16</c:f>
              <c:numCache>
                <c:formatCode>General</c:formatCode>
                <c:ptCount val="15"/>
                <c:pt idx="0">
                  <c:v>63</c:v>
                </c:pt>
                <c:pt idx="1">
                  <c:v>77</c:v>
                </c:pt>
                <c:pt idx="2">
                  <c:v>75</c:v>
                </c:pt>
                <c:pt idx="3">
                  <c:v>81</c:v>
                </c:pt>
                <c:pt idx="4">
                  <c:v>86</c:v>
                </c:pt>
                <c:pt idx="5">
                  <c:v>67</c:v>
                </c:pt>
                <c:pt idx="6">
                  <c:v>78</c:v>
                </c:pt>
                <c:pt idx="7">
                  <c:v>80</c:v>
                </c:pt>
                <c:pt idx="8">
                  <c:v>73</c:v>
                </c:pt>
                <c:pt idx="9">
                  <c:v>69</c:v>
                </c:pt>
                <c:pt idx="10">
                  <c:v>65</c:v>
                </c:pt>
                <c:pt idx="11">
                  <c:v>77</c:v>
                </c:pt>
                <c:pt idx="12">
                  <c:v>79</c:v>
                </c:pt>
                <c:pt idx="13">
                  <c:v>72</c:v>
                </c:pt>
                <c:pt idx="14">
                  <c:v>75</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D-AA04-446D-935F-6F6E311FE905}"/>
            </c:ext>
          </c:extLst>
        </c:ser>
        <c:dLbls>
          <c:showLegendKey val="0"/>
          <c:showVal val="0"/>
          <c:showCatName val="0"/>
          <c:showSerName val="0"/>
          <c:showPercent val="0"/>
          <c:showBubbleSize val="0"/>
        </c:dLbls>
        <c:gapWidth val="150"/>
        <c:axId val="452724856"/>
        <c:axId val="452724216"/>
      </c:barChart>
      <c:lineChart>
        <c:grouping val="standard"/>
        <c:varyColors val="0"/>
        <c:ser>
          <c:idx val="1"/>
          <c:order val="1"/>
          <c:tx>
            <c:strRef>
              <c:f>Blad1!$C$1</c:f>
              <c:strCache>
                <c:ptCount val="1"/>
                <c:pt idx="0">
                  <c:v>Global average based on 179 submissions</c:v>
                </c:pt>
              </c:strCache>
            </c:strRef>
          </c:tx>
          <c:spPr>
            <a:ln w="28575" cap="rnd">
              <a:solidFill>
                <a:schemeClr val="accent2"/>
              </a:solidFill>
              <a:round/>
            </a:ln>
            <a:effectLst/>
          </c:spPr>
          <c:marker>
            <c:symbol val="none"/>
          </c:marker>
          <c:dLbls>
            <c:dLbl>
              <c:idx val="1"/>
              <c:layout>
                <c:manualLayout>
                  <c:x val="-2.3643249645829201E-2"/>
                  <c:y val="6.4849138259887695E-2"/>
                </c:manualLayout>
              </c:layout>
              <c:tx>
                <c:rich>
                  <a:bodyPr/>
                  <a:lstStyle/>
                  <a:p>
                    <a:fld id="{FF50C41E-C103-4B19-8DB0-CF9C849DFEDA}" type="VALUE">
                      <a:rPr lang="en-US" altLang="zh-CN" smtClean="0"/>
                      <a:pPr/>
                      <a:t>[值]</a:t>
                    </a:fld>
                    <a:endParaRPr lang="en-US"/>
                  </a:p>
                  <a:p>
                    <a:r>
                      <a:rPr lang="en-US"/>
                      <a:t>%</a:t>
                    </a:r>
                  </a:p>
                </c:rich>
              </c:tx>
              <c:dLblPos val="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F-AA04-446D-935F-6F6E311FE905}"/>
                </c:ext>
              </c:extLst>
            </c:dLbl>
            <c:dLbl>
              <c:idx val="2"/>
              <c:layout>
                <c:manualLayout>
                  <c:x val="-2.3643249645829201E-2"/>
                  <c:y val="4.2151939123868942E-2"/>
                </c:manualLayout>
              </c:layout>
              <c:tx>
                <c:rich>
                  <a:bodyPr/>
                  <a:lstStyle/>
                  <a:p>
                    <a:br>
                      <a:rPr lang="en-US"/>
                    </a:br>
                    <a:fld id="{2FB7D8F4-86AC-48A1-9016-3C13B7B1744F}" type="VALUE">
                      <a:rPr lang="en-US" altLang="zh-CN" smtClean="0"/>
                      <a:pPr/>
                      <a:t>[值]</a:t>
                    </a:fld>
                    <a:br>
                      <a:rPr lang="en-US"/>
                    </a:br>
                    <a:r>
                      <a:rPr lang="en-US"/>
                      <a:t>%</a:t>
                    </a:r>
                  </a:p>
                </c:rich>
              </c:tx>
              <c:dLblPos val="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0-AA04-446D-935F-6F6E311FE905}"/>
                </c:ext>
              </c:extLst>
            </c:dLbl>
            <c:dLbl>
              <c:idx val="3"/>
              <c:layout>
                <c:manualLayout>
                  <c:x val="-2.2067032754421234E-2"/>
                  <c:y val="3.5667024552822113E-2"/>
                </c:manualLayout>
              </c:layout>
              <c:tx>
                <c:rich>
                  <a:bodyPr/>
                  <a:lstStyle/>
                  <a:p>
                    <a:br>
                      <a:rPr lang="en-US"/>
                    </a:br>
                    <a:fld id="{8A4783F1-BAD5-4EDD-93F0-2396EAF0E6C8}" type="VALUE">
                      <a:rPr lang="en-US" altLang="zh-CN" smtClean="0"/>
                      <a:pPr/>
                      <a:t>[值]</a:t>
                    </a:fld>
                    <a:br>
                      <a:rPr lang="en-US"/>
                    </a:br>
                    <a:r>
                      <a:rPr lang="en-US"/>
                      <a:t>%</a:t>
                    </a:r>
                  </a:p>
                </c:rich>
              </c:tx>
              <c:dLblPos val="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1-AA04-446D-935F-6F6E311FE905}"/>
                </c:ext>
              </c:extLst>
            </c:dLbl>
            <c:dLbl>
              <c:idx val="4"/>
              <c:tx>
                <c:rich>
                  <a:bodyPr/>
                  <a:lstStyle/>
                  <a:p>
                    <a:fld id="{69C0C815-92FA-4938-BDE9-5EAD25ADB7A2}"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2-AA04-446D-935F-6F6E311FE905}"/>
                </c:ext>
              </c:extLst>
            </c:dLbl>
            <c:dLbl>
              <c:idx val="5"/>
              <c:tx>
                <c:rich>
                  <a:bodyPr/>
                  <a:lstStyle/>
                  <a:p>
                    <a:fld id="{50420200-5978-4E75-9DD9-C0B4198B0140}"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3-AA04-446D-935F-6F6E311FE905}"/>
                </c:ext>
              </c:extLst>
            </c:dLbl>
            <c:dLbl>
              <c:idx val="6"/>
              <c:tx>
                <c:rich>
                  <a:bodyPr/>
                  <a:lstStyle/>
                  <a:p>
                    <a:fld id="{8C6EDB94-6CD6-4910-A9D2-27EAE8C9D720}"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4-AA04-446D-935F-6F6E311FE905}"/>
                </c:ext>
              </c:extLst>
            </c:dLbl>
            <c:dLbl>
              <c:idx val="7"/>
              <c:tx>
                <c:rich>
                  <a:bodyPr/>
                  <a:lstStyle/>
                  <a:p>
                    <a:fld id="{04DBE3B1-2D83-4FB9-8120-2BF693DB6CFB}"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5-AA04-446D-935F-6F6E311FE905}"/>
                </c:ext>
              </c:extLst>
            </c:dLbl>
            <c:dLbl>
              <c:idx val="8"/>
              <c:layout>
                <c:manualLayout>
                  <c:x val="-1.862981915473938E-2"/>
                  <c:y val="7.7818967401981354E-2"/>
                </c:manualLayout>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fld id="{1E253DDE-5121-4C87-9739-24023D9E257D}" type="VALUE">
                      <a:rPr lang="en-US" altLang="zh-CN" smtClean="0"/>
                      <a:pPr>
                        <a:defRPr sz="1200" b="0" i="0" u="none" strike="noStrike" kern="1200" baseline="0">
                          <a:solidFill>
                            <a:schemeClr val="tx1"/>
                          </a:solidFill>
                          <a:latin typeface="+mn-lt"/>
                          <a:ea typeface="+mn-ea"/>
                          <a:cs typeface="+mn-cs"/>
                        </a:defRPr>
                      </a:pPr>
                      <a:t>[值]</a:t>
                    </a:fld>
                    <a:br>
                      <a:rPr lang="en-US"/>
                    </a:br>
                    <a:r>
                      <a:rPr lang="en-US"/>
                      <a:t>%</a:t>
                    </a:r>
                  </a:p>
                </c:rich>
              </c:tx>
              <c:spPr>
                <a:noFill/>
                <a:ln>
                  <a:noFill/>
                </a:ln>
                <a:effectLst/>
              </c:spPr>
              <c:dLblPos val="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layout>
                    <c:manualLayout>
                      <c:w val="3.0329347E-2"/>
                      <c:h val="0.118706346"/>
                    </c:manualLayout>
                  </c15:layout>
                  <c15:dlblFieldTable/>
                  <c15:showDataLabelsRange val="0"/>
                </c:ext>
                <c:ext xmlns:c16="http://schemas.microsoft.com/office/drawing/2014/chart" uri="{C3380CC4-5D6E-409C-BE32-E72D297353CC}">
                  <c16:uniqueId val="{00000016-AA04-446D-935F-6F6E311FE905}"/>
                </c:ext>
              </c:extLst>
            </c:dLbl>
            <c:dLbl>
              <c:idx val="9"/>
              <c:tx>
                <c:rich>
                  <a:bodyPr/>
                  <a:lstStyle/>
                  <a:p>
                    <a:fld id="{500FE38E-5698-4F02-9245-C5FB32B5301C}"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7-AA04-446D-935F-6F6E311FE905}"/>
                </c:ext>
              </c:extLst>
            </c:dLbl>
            <c:dLbl>
              <c:idx val="10"/>
              <c:tx>
                <c:rich>
                  <a:bodyPr/>
                  <a:lstStyle/>
                  <a:p>
                    <a:fld id="{D294E5EE-5C16-4AF6-944C-E217522A8D2D}"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8-AA04-446D-935F-6F6E311FE905}"/>
                </c:ext>
              </c:extLst>
            </c:dLbl>
            <c:dLbl>
              <c:idx val="11"/>
              <c:tx>
                <c:rich>
                  <a:bodyPr/>
                  <a:lstStyle/>
                  <a:p>
                    <a:fld id="{A93500D8-504E-4E85-A509-FFC3B0A3C1C5}"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9-AA04-446D-935F-6F6E311FE905}"/>
                </c:ext>
              </c:extLst>
            </c:dLbl>
            <c:dLbl>
              <c:idx val="12"/>
              <c:tx>
                <c:rich>
                  <a:bodyPr/>
                  <a:lstStyle/>
                  <a:p>
                    <a:fld id="{A3062BD2-F3C0-4959-A158-B4BFC7205BAB}"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A-AA04-446D-935F-6F6E311FE905}"/>
                </c:ext>
              </c:extLst>
            </c:dLbl>
            <c:dLbl>
              <c:idx val="13"/>
              <c:tx>
                <c:rich>
                  <a:bodyPr/>
                  <a:lstStyle/>
                  <a:p>
                    <a:fld id="{CF316453-78D4-49C9-A433-D6971E4CF360}"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1E-AA04-446D-935F-6F6E311FE905}"/>
                </c:ext>
              </c:extLst>
            </c:dLbl>
            <c:dLbl>
              <c:idx val="14"/>
              <c:tx>
                <c:rich>
                  <a:bodyPr/>
                  <a:lstStyle/>
                  <a:p>
                    <a:fld id="{B930D03B-7CF9-406B-A53B-910757F40322}" type="VALUE">
                      <a:rPr lang="en-US" altLang="zh-CN" smtClean="0"/>
                      <a:pPr/>
                      <a:t>[值]</a:t>
                    </a:fld>
                    <a:br>
                      <a:rPr lang="en-US"/>
                    </a:br>
                    <a:r>
                      <a:rPr lang="en-US"/>
                      <a:t>%</a:t>
                    </a:r>
                  </a:p>
                </c:rich>
              </c:tx>
              <c:dLblPos val="b"/>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1-E6D8-4912-854E-CBC10666B1E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tx1"/>
                    </a:solidFill>
                    <a:latin typeface="+mn-lt"/>
                    <a:ea typeface="+mn-ea"/>
                    <a:cs typeface="+mn-cs"/>
                  </a:defRPr>
                </a:pPr>
                <a:endParaRPr lang="zh-CN"/>
              </a:p>
            </c:txPr>
            <c:dLblPos val="b"/>
            <c:showLegendKey val="0"/>
            <c:showVal val="1"/>
            <c:showCatName val="0"/>
            <c:showSerName val="0"/>
            <c:showPercent val="0"/>
            <c:showBubbleSize val="0"/>
            <c:showLeaderLines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Blad1!$A$2:$A$16</c:f>
              <c:strCache>
                <c:ptCount val="15"/>
                <c:pt idx="0">
                  <c:v>C.1</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strCache>
            </c:strRef>
          </c:cat>
          <c:val>
            <c:numRef>
              <c:f>Blad1!$C$2:$C$16</c:f>
              <c:numCache>
                <c:formatCode>General</c:formatCode>
                <c:ptCount val="15"/>
                <c:pt idx="0">
                  <c:v>52</c:v>
                </c:pt>
                <c:pt idx="1">
                  <c:v>66</c:v>
                </c:pt>
                <c:pt idx="2">
                  <c:v>63</c:v>
                </c:pt>
                <c:pt idx="3">
                  <c:v>72</c:v>
                </c:pt>
                <c:pt idx="4">
                  <c:v>81</c:v>
                </c:pt>
                <c:pt idx="5">
                  <c:v>59</c:v>
                </c:pt>
                <c:pt idx="6">
                  <c:v>70</c:v>
                </c:pt>
                <c:pt idx="7">
                  <c:v>72</c:v>
                </c:pt>
                <c:pt idx="8">
                  <c:v>60</c:v>
                </c:pt>
                <c:pt idx="9">
                  <c:v>67</c:v>
                </c:pt>
                <c:pt idx="10">
                  <c:v>61</c:v>
                </c:pt>
                <c:pt idx="11">
                  <c:v>65</c:v>
                </c:pt>
                <c:pt idx="12">
                  <c:v>63</c:v>
                </c:pt>
                <c:pt idx="13">
                  <c:v>55</c:v>
                </c:pt>
                <c:pt idx="14">
                  <c:v>57</c:v>
                </c:pt>
              </c:numCache>
            </c:numRef>
          </c:val>
          <c:smooth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1B-AA04-446D-935F-6F6E311FE905}"/>
            </c:ext>
          </c:extLst>
        </c:ser>
        <c:dLbls>
          <c:showLegendKey val="0"/>
          <c:showVal val="0"/>
          <c:showCatName val="0"/>
          <c:showSerName val="0"/>
          <c:showPercent val="0"/>
          <c:showBubbleSize val="0"/>
        </c:dLbls>
        <c:marker val="1"/>
        <c:smooth val="0"/>
        <c:axId val="452724856"/>
        <c:axId val="452724216"/>
      </c:lineChart>
      <c:catAx>
        <c:axId val="452724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smtId="4294967295">
                <a:solidFill>
                  <a:schemeClr val="tx1"/>
                </a:solidFill>
                <a:latin typeface="+mn-lt"/>
                <a:ea typeface="+mn-ea"/>
                <a:cs typeface="+mn-cs"/>
              </a:defRPr>
            </a:pPr>
            <a:endParaRPr lang="zh-CN"/>
          </a:p>
        </c:txPr>
        <c:crossAx val="452724216"/>
        <c:crosses val="autoZero"/>
        <c:auto val="0"/>
        <c:lblAlgn val="ctr"/>
        <c:lblOffset val="100"/>
        <c:noMultiLvlLbl val="0"/>
      </c:catAx>
      <c:valAx>
        <c:axId val="4527242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smtId="4294967295">
                <a:solidFill>
                  <a:schemeClr val="tx1"/>
                </a:solidFill>
                <a:latin typeface="+mn-lt"/>
                <a:ea typeface="+mn-ea"/>
                <a:cs typeface="+mn-cs"/>
              </a:defRPr>
            </a:pPr>
            <a:endParaRPr lang="zh-CN"/>
          </a:p>
        </c:txPr>
        <c:crossAx val="452724856"/>
        <c:crosses val="autoZero"/>
        <c:crossBetween val="between"/>
        <c:majorUnit val="20"/>
        <c:minorUnit val="1"/>
      </c:valAx>
      <c:spPr>
        <a:noFill/>
        <a:ln>
          <a:noFill/>
        </a:ln>
        <a:effectLst/>
      </c:spPr>
    </c:plotArea>
    <c:legend>
      <c:legendPos val="t"/>
      <c:legendEntry>
        <c:idx val="0"/>
        <c:txPr>
          <a:bodyPr rot="0" spcFirstLastPara="1" vertOverflow="ellipsis" vert="horz" wrap="square" anchor="ctr" anchorCtr="1"/>
          <a:lstStyle/>
          <a:p>
            <a:pPr>
              <a:defRPr sz="1200" b="0" i="0" u="none" strike="noStrike" kern="1200" baseline="0" smtId="4294967295">
                <a:solidFill>
                  <a:schemeClr val="tx1"/>
                </a:solidFill>
                <a:latin typeface="+mn-lt"/>
                <a:ea typeface="+mn-ea"/>
                <a:cs typeface="+mn-cs"/>
              </a:defRPr>
            </a:pPr>
            <a:endParaRPr lang="zh-CN"/>
          </a:p>
        </c:txPr>
      </c:legendEntry>
      <c:layout>
        <c:manualLayout>
          <c:xMode val="edge"/>
          <c:yMode val="edge"/>
          <c:x val="8.3272650837898254E-2"/>
          <c:y val="8.8578559458255768E-2"/>
          <c:w val="0.80120205879211426"/>
          <c:h val="0.11294779181480408"/>
        </c:manualLayout>
      </c:layout>
      <c:overlay val="0"/>
      <c:spPr>
        <a:noFill/>
        <a:ln>
          <a:noFill/>
        </a:ln>
        <a:effectLst/>
      </c:spPr>
      <c:txPr>
        <a:bodyPr rot="0" spcFirstLastPara="1" vertOverflow="ellipsis" vert="horz" wrap="square" anchor="ctr" anchorCtr="1"/>
        <a:lstStyle/>
        <a:p>
          <a:pPr>
            <a:defRPr sz="1200" b="0" i="0" u="none" strike="noStrike" kern="1200" baseline="0" smtId="4294967295">
              <a:solidFill>
                <a:schemeClr val="tx1"/>
              </a:solidFill>
              <a:latin typeface="+mn-lt"/>
              <a:ea typeface="+mn-ea"/>
              <a:cs typeface="+mn-cs"/>
            </a:defRPr>
          </a:pPr>
          <a:endParaRPr lang="zh-CN"/>
        </a:p>
      </c:txPr>
    </c:legend>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6232930421829224"/>
          <c:y val="0.31256988644599915"/>
          <c:w val="0.27534142136573792"/>
          <c:h val="0.45731270313262939"/>
        </c:manualLayout>
      </c:layout>
      <c:doughnutChart>
        <c:varyColors val="1"/>
        <c:dLbls>
          <c:showLegendKey val="0"/>
          <c:showVal val="0"/>
          <c:showCatName val="0"/>
          <c:showSerName val="0"/>
          <c:showPercent val="0"/>
          <c:showBubbleSize val="0"/>
          <c:showLeaderLines val="0"/>
        </c:dLbls>
        <c:firstSliceAng val="0"/>
        <c:holeSize val="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smtId="4294967295">
              <a:solidFill>
                <a:schemeClr val="tx1">
                  <a:lumMod val="65000"/>
                  <a:lumOff val="35000"/>
                </a:schemeClr>
              </a:solidFill>
              <a:latin typeface="+mn-lt"/>
              <a:ea typeface="+mn-ea"/>
              <a:cs typeface="+mn-cs"/>
            </a:defRPr>
          </a:pPr>
          <a:endParaRPr lang="zh-CN"/>
        </a:p>
      </c:txPr>
    </c:legend>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All capacities </a:t>
            </a:r>
            <a:br>
              <a:rPr lang="en-US" b="1">
                <a:solidFill>
                  <a:schemeClr val="tx1"/>
                </a:solidFill>
              </a:rPr>
            </a:br>
            <a:r>
              <a:rPr lang="en-US" b="1">
                <a:solidFill>
                  <a:schemeClr val="tx1"/>
                </a:solidFill>
              </a:rPr>
              <a:t>Global average 2021</a:t>
            </a:r>
          </a:p>
        </c:rich>
      </c:tx>
      <c:layout>
        <c:manualLayout>
          <c:xMode val="edge"/>
          <c:yMode val="edge"/>
          <c:x val="0.25763979554176331"/>
          <c:y val="2.1958382800221443E-2"/>
        </c:manualLayout>
      </c:layout>
      <c:overlay val="0"/>
      <c:spPr>
        <a:noFill/>
        <a:ln>
          <a:noFill/>
        </a:ln>
        <a:effectLst/>
      </c:spPr>
    </c:title>
    <c:autoTitleDeleted val="0"/>
    <c:plotArea>
      <c:layout>
        <c:manualLayout>
          <c:layoutTarget val="inner"/>
          <c:xMode val="edge"/>
          <c:yMode val="edge"/>
          <c:x val="0.33577367663383484"/>
          <c:y val="0.31384566426277161"/>
          <c:w val="0.3711371123790741"/>
          <c:h val="0.61525166034698486"/>
        </c:manualLayout>
      </c:layout>
      <c:doughnutChart>
        <c:varyColors val="1"/>
        <c:ser>
          <c:idx val="0"/>
          <c:order val="0"/>
          <c:tx>
            <c:strRef>
              <c:f>Blad1!$B$1</c:f>
              <c:strCache>
                <c:ptCount val="1"/>
                <c:pt idx="0">
                  <c:v>All capacities Global average</c:v>
                </c:pt>
              </c:strCache>
            </c:strRef>
          </c:tx>
          <c:dPt>
            <c:idx val="0"/>
            <c:bubble3D val="0"/>
            <c:spPr>
              <a:solidFill>
                <a:schemeClr val="accent1"/>
              </a:solidFill>
              <a:ln w="19050">
                <a:solidFill>
                  <a:schemeClr val="lt1"/>
                </a:solidFill>
              </a:ln>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1-65A1-4D72-873D-10006ABA521B}"/>
              </c:ext>
            </c:extLst>
          </c:dPt>
          <c:dPt>
            <c:idx val="1"/>
            <c:bubble3D val="0"/>
            <c:spPr>
              <a:solidFill>
                <a:schemeClr val="accent2"/>
              </a:solidFill>
              <a:ln w="19050">
                <a:solidFill>
                  <a:schemeClr val="lt1"/>
                </a:solidFill>
              </a:ln>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3-65A1-4D72-873D-10006ABA521B}"/>
              </c:ext>
            </c:extLst>
          </c:dPt>
          <c:dLbls>
            <c:dLbl>
              <c:idx val="0"/>
              <c:layout>
                <c:manualLayout>
                  <c:x val="-0.13311229646205902"/>
                  <c:y val="-0.1262197345495224"/>
                </c:manualLayout>
              </c:layout>
              <c:tx>
                <c:rich>
                  <a:bodyPr rot="0" spcFirstLastPara="1" vertOverflow="ellipsis" vert="horz" wrap="square" lIns="38100" tIns="19050" rIns="38100" bIns="19050" anchor="ctr" anchorCtr="0">
                    <a:noAutofit/>
                  </a:bodyPr>
                  <a:lstStyle/>
                  <a:p>
                    <a:pPr algn="ctr">
                      <a:defRPr lang="en-US" sz="2400" b="1" i="0" u="none" strike="noStrike" kern="1200" baseline="0">
                        <a:solidFill>
                          <a:schemeClr val="tx1"/>
                        </a:solidFill>
                        <a:latin typeface="+mn-lt"/>
                        <a:ea typeface="+mn-ea"/>
                        <a:cs typeface="+mn-cs"/>
                      </a:defRPr>
                    </a:pPr>
                    <a:r>
                      <a:rPr lang="en-US" sz="2400" b="1" i="0" u="none" strike="noStrike" kern="1200" baseline="0">
                        <a:solidFill>
                          <a:schemeClr val="tx1"/>
                        </a:solidFill>
                        <a:latin typeface="+mn-lt"/>
                        <a:ea typeface="+mn-ea"/>
                        <a:cs typeface="+mn-cs"/>
                      </a:rPr>
                      <a:t>64%</a:t>
                    </a:r>
                  </a:p>
                </c:rich>
              </c:tx>
              <c:spPr>
                <a:noFill/>
                <a:ln>
                  <a:noFill/>
                </a:ln>
                <a:effectLst/>
              </c:spP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layout>
                    <c:manualLayout>
                      <c:w val="0.25203170000000003"/>
                      <c:h val="0.38128551999999999"/>
                    </c:manualLayout>
                  </c15:layout>
                  <c15:showDataLabelsRange val="0"/>
                </c:ext>
                <c:ext xmlns:c16="http://schemas.microsoft.com/office/drawing/2014/chart" uri="{C3380CC4-5D6E-409C-BE32-E72D297353CC}">
                  <c16:uniqueId val="{00000001-65A1-4D72-873D-10006ABA521B}"/>
                </c:ext>
              </c:extLst>
            </c:dLbl>
            <c:dLbl>
              <c:idx val="1"/>
              <c:delete val="1"/>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65A1-4D72-873D-10006ABA521B}"/>
                </c:ext>
              </c:extLst>
            </c:dLbl>
            <c:spPr>
              <a:noFill/>
              <a:ln>
                <a:noFill/>
              </a:ln>
              <a:effectLst/>
            </c:spPr>
            <c:txPr>
              <a:bodyPr rot="0" spcFirstLastPara="1" vertOverflow="ellipsis" vert="horz" wrap="square" lIns="38100" tIns="19050" rIns="38100" bIns="19050" anchor="ctr" anchorCtr="0">
                <a:spAutoFit/>
              </a:bodyPr>
              <a:lstStyle/>
              <a:p>
                <a:pPr algn="ctr">
                  <a:defRPr lang="en-US" sz="2400" b="1" i="0" u="none" strike="noStrike" kern="1200" baseline="0" smtId="4294967295">
                    <a:solidFill>
                      <a:schemeClr val="tx1"/>
                    </a:solidFill>
                    <a:latin typeface="+mn-lt"/>
                    <a:ea typeface="+mn-ea"/>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c:spPr>
            </c:leaderLines>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Lst>
          </c:dLbls>
          <c:cat>
            <c:multiLvlStrRef>
              <c:f>Blad1!$A$2:$A$3</c:f>
            </c:multiLvlStrRef>
          </c:cat>
          <c:val>
            <c:numRef>
              <c:f>Blad1!$B$2:$B$3</c:f>
              <c:numCache>
                <c:formatCode>General</c:formatCode>
                <c:ptCount val="2"/>
                <c:pt idx="0">
                  <c:v>65</c:v>
                </c:pt>
                <c:pt idx="1">
                  <c:v>35</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4-65A1-4D72-873D-10006ABA521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a:solidFill>
                  <a:schemeClr val="tx1"/>
                </a:solidFill>
              </a:rPr>
              <a:t>All capacities </a:t>
            </a:r>
            <a:br>
              <a:rPr lang="en-US" b="1" dirty="0">
                <a:solidFill>
                  <a:schemeClr val="tx1"/>
                </a:solidFill>
              </a:rPr>
            </a:br>
            <a:r>
              <a:rPr lang="en-US" b="1" dirty="0">
                <a:solidFill>
                  <a:schemeClr val="tx1"/>
                </a:solidFill>
              </a:rPr>
              <a:t>EURO average 2021</a:t>
            </a:r>
          </a:p>
        </c:rich>
      </c:tx>
      <c:overlay val="0"/>
      <c:spPr>
        <a:noFill/>
        <a:ln>
          <a:noFill/>
        </a:ln>
        <a:effectLst/>
      </c:spPr>
    </c:title>
    <c:autoTitleDeleted val="0"/>
    <c:plotArea>
      <c:layout>
        <c:manualLayout>
          <c:layoutTarget val="inner"/>
          <c:xMode val="edge"/>
          <c:yMode val="edge"/>
          <c:x val="0.33451321721076965"/>
          <c:y val="0.3079490065574646"/>
          <c:w val="0.38909575343132019"/>
          <c:h val="0.6625676155090332"/>
        </c:manualLayout>
      </c:layout>
      <c:doughnutChart>
        <c:varyColors val="1"/>
        <c:ser>
          <c:idx val="0"/>
          <c:order val="0"/>
          <c:tx>
            <c:strRef>
              <c:f>Blad1!$B$1</c:f>
              <c:strCache>
                <c:ptCount val="1"/>
                <c:pt idx="0">
                  <c:v>All capacities average</c:v>
                </c:pt>
              </c:strCache>
            </c:strRef>
          </c:tx>
          <c:dPt>
            <c:idx val="0"/>
            <c:bubble3D val="0"/>
            <c:spPr>
              <a:solidFill>
                <a:schemeClr val="accent1"/>
              </a:solidFill>
              <a:ln w="19050">
                <a:solidFill>
                  <a:schemeClr val="lt1"/>
                </a:solidFill>
              </a:ln>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1-3B7C-4308-95DD-310542BEB1AE}"/>
              </c:ext>
            </c:extLst>
          </c:dPt>
          <c:dPt>
            <c:idx val="1"/>
            <c:bubble3D val="0"/>
            <c:spPr>
              <a:solidFill>
                <a:schemeClr val="accent2"/>
              </a:solidFill>
              <a:ln w="19050">
                <a:solidFill>
                  <a:schemeClr val="lt1"/>
                </a:solidFill>
              </a:ln>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3-3B7C-4308-95DD-310542BEB1AE}"/>
              </c:ext>
            </c:extLst>
          </c:dPt>
          <c:dLbls>
            <c:dLbl>
              <c:idx val="0"/>
              <c:layout>
                <c:manualLayout>
                  <c:x val="-9.5609277486801147E-2"/>
                  <c:y val="-0.15590411424636841"/>
                </c:manualLayout>
              </c:layout>
              <c:tx>
                <c:rich>
                  <a:bodyPr rot="0" spcFirstLastPara="1" vertOverflow="ellipsis" vert="horz" wrap="square" lIns="38100" tIns="19050" rIns="38100" bIns="19050" anchor="ctr" anchorCtr="1">
                    <a:noAutofit/>
                  </a:bodyPr>
                  <a:lstStyle/>
                  <a:p>
                    <a:pPr>
                      <a:defRPr sz="2400" b="1" i="0" u="none" strike="noStrike" kern="1200" baseline="0">
                        <a:solidFill>
                          <a:schemeClr val="tx1"/>
                        </a:solidFill>
                        <a:latin typeface="+mn-lt"/>
                        <a:ea typeface="+mn-ea"/>
                        <a:cs typeface="+mn-cs"/>
                      </a:defRPr>
                    </a:pPr>
                    <a:r>
                      <a:rPr lang="en-US" sz="2400">
                        <a:solidFill>
                          <a:schemeClr val="tx1"/>
                        </a:solidFill>
                      </a:rPr>
                      <a:t>74%</a:t>
                    </a:r>
                  </a:p>
                </c:rich>
              </c:tx>
              <c:spPr>
                <a:noFill/>
                <a:ln>
                  <a:noFill/>
                </a:ln>
                <a:effectLst/>
              </c:spPr>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layout>
                    <c:manualLayout>
                      <c:w val="0.23388296"/>
                      <c:h val="0.42104910000000001"/>
                    </c:manualLayout>
                  </c15:layout>
                  <c15:showDataLabelsRange val="0"/>
                </c:ext>
                <c:ext xmlns:c16="http://schemas.microsoft.com/office/drawing/2014/chart" uri="{C3380CC4-5D6E-409C-BE32-E72D297353CC}">
                  <c16:uniqueId val="{00000001-3B7C-4308-95DD-310542BEB1AE}"/>
                </c:ext>
              </c:extLst>
            </c:dLbl>
            <c:dLbl>
              <c:idx val="1"/>
              <c:delete val="1"/>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 xmlns:c16="http://schemas.microsoft.com/office/drawing/2014/chart" uri="{C3380CC4-5D6E-409C-BE32-E72D297353CC}">
                  <c16:uniqueId val="{00000003-3B7C-4308-95DD-310542BEB1AE}"/>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smtId="4294967295">
                    <a:solidFill>
                      <a:schemeClr val="tx1"/>
                    </a:solidFill>
                    <a:latin typeface="+mn-lt"/>
                    <a:ea typeface="+mn-ea"/>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c:spPr>
            </c:leaderLines>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Lst>
          </c:dLbls>
          <c:cat>
            <c:strRef>
              <c:f>Blad1!$A$2:$A$3</c:f>
              <c:strCache>
                <c:ptCount val="2"/>
                <c:pt idx="0">
                  <c:v>Kv 1</c:v>
                </c:pt>
                <c:pt idx="1">
                  <c:v>Kv 2</c:v>
                </c:pt>
              </c:strCache>
            </c:strRef>
          </c:cat>
          <c:val>
            <c:numRef>
              <c:f>Blad1!$B$2:$B$3</c:f>
              <c:numCache>
                <c:formatCode>General</c:formatCode>
                <c:ptCount val="2"/>
                <c:pt idx="0">
                  <c:v>74</c:v>
                </c:pt>
                <c:pt idx="1">
                  <c:v>26</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4-3B7C-4308-95DD-310542BEB1A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a:t>Main challenges reported</a:t>
            </a:r>
          </a:p>
        </c:rich>
      </c:tx>
      <c:layout>
        <c:manualLayout>
          <c:xMode val="edge"/>
          <c:yMode val="edge"/>
          <c:x val="0.18967488408088684"/>
          <c:y val="0.11456462740898132"/>
        </c:manualLayout>
      </c:layout>
      <c:overlay val="0"/>
      <c:spPr>
        <a:noFill/>
        <a:ln>
          <a:noFill/>
        </a:ln>
        <a:effectLst/>
      </c:spPr>
    </c:title>
    <c:autoTitleDeleted val="0"/>
    <c:plotArea>
      <c:layout>
        <c:manualLayout>
          <c:layoutTarget val="inner"/>
          <c:xMode val="edge"/>
          <c:yMode val="edge"/>
          <c:x val="0"/>
          <c:y val="0.29614409804344177"/>
          <c:w val="1"/>
          <c:h val="0.57473123073577881"/>
        </c:manualLayout>
      </c:layout>
      <c:barChart>
        <c:barDir val="col"/>
        <c:grouping val="clustered"/>
        <c:varyColors val="0"/>
        <c:ser>
          <c:idx val="0"/>
          <c:order val="0"/>
          <c:tx>
            <c:strRef>
              <c:f>Sheet1!$B$1</c:f>
              <c:strCache>
                <c:ptCount val="1"/>
                <c:pt idx="0">
                  <c:v>Main challenges of the EURO region</c:v>
                </c:pt>
              </c:strCache>
            </c:strRef>
          </c:tx>
          <c:spPr>
            <a:solidFill>
              <a:schemeClr val="accent1"/>
            </a:solidFill>
            <a:ln>
              <a:noFill/>
            </a:ln>
            <a:effectLst/>
          </c:spPr>
          <c:invertIfNegative val="0"/>
          <c:dLbls>
            <c:dLbl>
              <c:idx val="0"/>
              <c:tx>
                <c:rich>
                  <a:bodyPr/>
                  <a:lstStyle/>
                  <a:p>
                    <a:fld id="{0EC92436-6CFC-4817-B6EA-1DBA2CAF0CF0}" type="VALUE">
                      <a:rPr lang="en-US" altLang="zh-CN" smtClean="0"/>
                      <a:pPr/>
                      <a:t>[值]</a:t>
                    </a:fld>
                    <a:r>
                      <a:rPr lang="en-US"/>
                      <a:t>%</a:t>
                    </a:r>
                  </a:p>
                </c:rich>
              </c:tx>
              <c:dLblPos val="outEnd"/>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0-6B95-4BF5-A33E-3D08FBE61375}"/>
                </c:ext>
              </c:extLst>
            </c:dLbl>
            <c:dLbl>
              <c:idx val="1"/>
              <c:tx>
                <c:rich>
                  <a:bodyPr/>
                  <a:lstStyle/>
                  <a:p>
                    <a:fld id="{58E255AD-0090-463F-897A-87F0649FEC0B}" type="VALUE">
                      <a:rPr lang="en-US" altLang="zh-CN" smtClean="0"/>
                      <a:pPr/>
                      <a:t>[值]</a:t>
                    </a:fld>
                    <a:r>
                      <a:rPr lang="en-US"/>
                      <a:t>%</a:t>
                    </a:r>
                  </a:p>
                </c:rich>
              </c:tx>
              <c:dLblPos val="outEnd"/>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1-6B95-4BF5-A33E-3D08FBE61375}"/>
                </c:ext>
              </c:extLst>
            </c:dLbl>
            <c:dLbl>
              <c:idx val="2"/>
              <c:tx>
                <c:rich>
                  <a:bodyPr/>
                  <a:lstStyle/>
                  <a:p>
                    <a:fld id="{8504BC3D-A9D2-4033-B359-8FCA5D05C1AF}" type="VALUE">
                      <a:rPr lang="en-US" altLang="zh-CN" smtClean="0"/>
                      <a:pPr/>
                      <a:t>[值]</a:t>
                    </a:fld>
                    <a:r>
                      <a:rPr lang="en-US"/>
                      <a:t>%</a:t>
                    </a:r>
                  </a:p>
                </c:rich>
              </c:tx>
              <c:dLblPos val="outEnd"/>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2-6B95-4BF5-A33E-3D08FBE61375}"/>
                </c:ext>
              </c:extLst>
            </c:dLbl>
            <c:spPr>
              <a:noFill/>
              <a:ln>
                <a:noFill/>
              </a:ln>
              <a:effectLst/>
            </c:spPr>
            <c:txPr>
              <a:bodyPr rot="0" spcFirstLastPara="1" vertOverflow="ellipsis" vert="horz" wrap="square" anchor="ctr" anchorCtr="1"/>
              <a:lstStyle/>
              <a:p>
                <a:pPr>
                  <a:defRPr sz="1200" b="0" i="0" u="none" strike="noStrike" kern="1200" baseline="0" smtId="4294967295">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4</c:f>
              <c:strCache>
                <c:ptCount val="3"/>
                <c:pt idx="0">
                  <c:v>C.1 Policy, Legal and normative Instruments to implement IHR</c:v>
                </c:pt>
                <c:pt idx="1">
                  <c:v>C.11 Points of entry (PoEs) and border health</c:v>
                </c:pt>
                <c:pt idx="2">
                  <c:v>C.6 Human resources</c:v>
                </c:pt>
              </c:strCache>
            </c:strRef>
          </c:cat>
          <c:val>
            <c:numRef>
              <c:f>Sheet1!$B$2:$B$4</c:f>
              <c:numCache>
                <c:formatCode>General</c:formatCode>
                <c:ptCount val="3"/>
                <c:pt idx="0">
                  <c:v>63</c:v>
                </c:pt>
                <c:pt idx="1">
                  <c:v>65</c:v>
                </c:pt>
                <c:pt idx="2">
                  <c:v>67</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3-6B95-4BF5-A33E-3D08FBE61375}"/>
            </c:ext>
          </c:extLst>
        </c:ser>
        <c:dLbls>
          <c:showLegendKey val="0"/>
          <c:showVal val="0"/>
          <c:showCatName val="0"/>
          <c:showSerName val="0"/>
          <c:showPercent val="0"/>
          <c:showBubbleSize val="0"/>
        </c:dLbls>
        <c:gapWidth val="500"/>
        <c:axId val="489837112"/>
        <c:axId val="489833176"/>
      </c:barChart>
      <c:catAx>
        <c:axId val="489837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lang="en-US" sz="1050" b="0" i="0" u="none" strike="noStrike" kern="1200" baseline="0" smtId="4294967295">
                <a:solidFill>
                  <a:schemeClr val="tx1"/>
                </a:solidFill>
                <a:latin typeface="+mn-lt"/>
                <a:ea typeface="+mn-ea"/>
                <a:cs typeface="+mn-cs"/>
              </a:defRPr>
            </a:pPr>
            <a:endParaRPr lang="zh-CN"/>
          </a:p>
        </c:txPr>
        <c:crossAx val="489833176"/>
        <c:crosses val="autoZero"/>
        <c:auto val="0"/>
        <c:lblAlgn val="ctr"/>
        <c:lblOffset val="100"/>
        <c:noMultiLvlLbl val="0"/>
      </c:catAx>
      <c:valAx>
        <c:axId val="489833176"/>
        <c:scaling>
          <c:orientation val="minMax"/>
          <c:max val="100"/>
        </c:scaling>
        <c:delete val="1"/>
        <c:axPos val="l"/>
        <c:numFmt formatCode="General" sourceLinked="1"/>
        <c:majorTickMark val="none"/>
        <c:minorTickMark val="none"/>
        <c:tickLblPos val="nextTo"/>
        <c:crossAx val="489837112"/>
        <c:crosses val="autoZero"/>
        <c:crossBetween val="between"/>
      </c:valAx>
      <c:spPr>
        <a:noFill/>
        <a:ln>
          <a:noFill/>
        </a:ln>
        <a:effectLst/>
      </c:spPr>
    </c:plotArea>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mtId="4294967295">
          <a:solidFill>
            <a:schemeClr val="tx1"/>
          </a:solidFill>
        </a:defRPr>
      </a:pPr>
      <a:endParaRPr lang="zh-CN"/>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dirty="0"/>
              <a:t>Main strengths reported</a:t>
            </a:r>
          </a:p>
        </c:rich>
      </c:tx>
      <c:layout>
        <c:manualLayout>
          <c:xMode val="edge"/>
          <c:yMode val="edge"/>
          <c:x val="0.22415213286876678"/>
          <c:y val="6.6473454236984253E-2"/>
        </c:manualLayout>
      </c:layout>
      <c:overlay val="0"/>
      <c:spPr>
        <a:noFill/>
        <a:ln>
          <a:noFill/>
        </a:ln>
        <a:effectLst/>
      </c:spPr>
    </c:title>
    <c:autoTitleDeleted val="0"/>
    <c:plotArea>
      <c:layout>
        <c:manualLayout>
          <c:layoutTarget val="inner"/>
          <c:xMode val="edge"/>
          <c:yMode val="edge"/>
          <c:x val="2.098761685192585E-2"/>
          <c:y val="0.34301018714904785"/>
          <c:w val="0.97963494062423706"/>
          <c:h val="0.51078873872756958"/>
        </c:manualLayout>
      </c:layout>
      <c:barChart>
        <c:barDir val="col"/>
        <c:grouping val="clustered"/>
        <c:varyColors val="0"/>
        <c:ser>
          <c:idx val="0"/>
          <c:order val="0"/>
          <c:tx>
            <c:strRef>
              <c:f>Sheet1!$B$1</c:f>
              <c:strCache>
                <c:ptCount val="1"/>
                <c:pt idx="0">
                  <c:v>Main strengths of the EURO region</c:v>
                </c:pt>
              </c:strCache>
            </c:strRef>
          </c:tx>
          <c:spPr>
            <a:solidFill>
              <a:schemeClr val="accent1"/>
            </a:solidFill>
            <a:ln>
              <a:noFill/>
            </a:ln>
            <a:effectLst/>
          </c:spPr>
          <c:invertIfNegative val="0"/>
          <c:dLbls>
            <c:dLbl>
              <c:idx val="0"/>
              <c:tx>
                <c:rich>
                  <a:bodyPr/>
                  <a:lstStyle/>
                  <a:p>
                    <a:fld id="{0EC92436-6CFC-4817-B6EA-1DBA2CAF0CF0}" type="VALUE">
                      <a:rPr lang="en-US" altLang="zh-CN" smtClean="0"/>
                      <a:pPr/>
                      <a:t>[值]</a:t>
                    </a:fld>
                    <a:r>
                      <a:rPr lang="en-US"/>
                      <a:t>%</a:t>
                    </a:r>
                  </a:p>
                </c:rich>
              </c:tx>
              <c:dLblPos val="outEnd"/>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0-EE1E-468A-963F-653BFD21CC36}"/>
                </c:ext>
              </c:extLst>
            </c:dLbl>
            <c:dLbl>
              <c:idx val="1"/>
              <c:tx>
                <c:rich>
                  <a:bodyPr/>
                  <a:lstStyle/>
                  <a:p>
                    <a:fld id="{58E255AD-0090-463F-897A-87F0649FEC0B}" type="VALUE">
                      <a:rPr lang="en-US" altLang="zh-CN" smtClean="0"/>
                      <a:pPr/>
                      <a:t>[值]</a:t>
                    </a:fld>
                    <a:r>
                      <a:rPr lang="en-US"/>
                      <a:t>%</a:t>
                    </a:r>
                  </a:p>
                </c:rich>
              </c:tx>
              <c:dLblPos val="outEnd"/>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1-EE1E-468A-963F-653BFD21CC36}"/>
                </c:ext>
              </c:extLst>
            </c:dLbl>
            <c:dLbl>
              <c:idx val="2"/>
              <c:tx>
                <c:rich>
                  <a:bodyPr/>
                  <a:lstStyle/>
                  <a:p>
                    <a:fld id="{8504BC3D-A9D2-4033-B359-8FCA5D05C1AF}" type="VALUE">
                      <a:rPr lang="en-US" altLang="zh-CN" smtClean="0"/>
                      <a:pPr/>
                      <a:t>[值]</a:t>
                    </a:fld>
                    <a:r>
                      <a:rPr lang="en-US"/>
                      <a:t>%</a:t>
                    </a:r>
                  </a:p>
                </c:rich>
              </c:tx>
              <c:dLblPos val="outEnd"/>
              <c:showLegendKey val="0"/>
              <c:showVal val="1"/>
              <c:showCatName val="0"/>
              <c:showSerName val="0"/>
              <c:showPercent val="0"/>
              <c:showBubbleSize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2-EE1E-468A-963F-653BFD21CC36}"/>
                </c:ext>
              </c:extLst>
            </c:dLbl>
            <c:spPr>
              <a:noFill/>
              <a:ln>
                <a:noFill/>
              </a:ln>
              <a:effectLst/>
            </c:spPr>
            <c:txPr>
              <a:bodyPr rot="0" spcFirstLastPara="1" vertOverflow="ellipsis" vert="horz" wrap="square" anchor="ctr" anchorCtr="1"/>
              <a:lstStyle/>
              <a:p>
                <a:pPr>
                  <a:defRPr sz="1200" b="0" i="0" u="none" strike="noStrike" kern="1200" baseline="0" smtId="4294967295">
                    <a:solidFill>
                      <a:schemeClr val="tx1"/>
                    </a:solidFill>
                    <a:latin typeface="+mn-lt"/>
                    <a:ea typeface="+mn-ea"/>
                    <a:cs typeface="+mn-cs"/>
                  </a:defRPr>
                </a:pPr>
                <a:endParaRPr lang="zh-CN"/>
              </a:p>
            </c:txPr>
            <c:dLblPos val="outEnd"/>
            <c:showLegendKey val="0"/>
            <c:showVal val="1"/>
            <c:showCatName val="0"/>
            <c:showSerName val="0"/>
            <c:showPercent val="0"/>
            <c:showBubbleSize val="0"/>
            <c:showLeaderLines val="0"/>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4</c:f>
              <c:strCache>
                <c:ptCount val="3"/>
                <c:pt idx="0">
                  <c:v>C.5 Surveillance </c:v>
                </c:pt>
                <c:pt idx="1">
                  <c:v>C.4 Laboratory </c:v>
                </c:pt>
                <c:pt idx="2">
                  <c:v>C.8 Health Services Provision</c:v>
                </c:pt>
              </c:strCache>
            </c:strRef>
          </c:cat>
          <c:val>
            <c:numRef>
              <c:f>Sheet1!$B$2:$B$4</c:f>
              <c:numCache>
                <c:formatCode>General</c:formatCode>
                <c:ptCount val="3"/>
                <c:pt idx="0">
                  <c:v>86</c:v>
                </c:pt>
                <c:pt idx="1">
                  <c:v>81</c:v>
                </c:pt>
                <c:pt idx="2">
                  <c:v>80</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3-EE1E-468A-963F-653BFD21CC36}"/>
            </c:ext>
          </c:extLst>
        </c:ser>
        <c:dLbls>
          <c:showLegendKey val="0"/>
          <c:showVal val="0"/>
          <c:showCatName val="0"/>
          <c:showSerName val="0"/>
          <c:showPercent val="0"/>
          <c:showBubbleSize val="0"/>
        </c:dLbls>
        <c:gapWidth val="500"/>
        <c:axId val="489837112"/>
        <c:axId val="489833176"/>
      </c:barChart>
      <c:catAx>
        <c:axId val="489837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00" b="0" i="0" u="none" strike="noStrike" kern="1200" baseline="0" smtId="4294967295">
                <a:solidFill>
                  <a:schemeClr val="tx1"/>
                </a:solidFill>
                <a:latin typeface="+mn-lt"/>
                <a:ea typeface="+mn-ea"/>
                <a:cs typeface="+mn-cs"/>
              </a:defRPr>
            </a:pPr>
            <a:endParaRPr lang="zh-CN"/>
          </a:p>
        </c:txPr>
        <c:crossAx val="489833176"/>
        <c:crosses val="autoZero"/>
        <c:auto val="0"/>
        <c:lblAlgn val="ctr"/>
        <c:lblOffset val="100"/>
        <c:noMultiLvlLbl val="0"/>
      </c:catAx>
      <c:valAx>
        <c:axId val="489833176"/>
        <c:scaling>
          <c:orientation val="minMax"/>
          <c:max val="100"/>
        </c:scaling>
        <c:delete val="1"/>
        <c:axPos val="l"/>
        <c:numFmt formatCode="General" sourceLinked="1"/>
        <c:majorTickMark val="none"/>
        <c:minorTickMark val="none"/>
        <c:tickLblPos val="nextTo"/>
        <c:crossAx val="489837112"/>
        <c:crosses val="autoZero"/>
        <c:crossBetween val="between"/>
      </c:valAx>
      <c:spPr>
        <a:noFill/>
        <a:ln>
          <a:noFill/>
        </a:ln>
        <a:effectLst/>
      </c:spPr>
    </c:plotArea>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mtId="4294967295">
          <a:solidFill>
            <a:schemeClr val="tx1"/>
          </a:solidFill>
        </a:defRPr>
      </a:pPr>
      <a:endParaRPr lang="zh-CN"/>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cap="all" baseline="0">
                <a:solidFill>
                  <a:schemeClr val="tx1">
                    <a:lumMod val="65000"/>
                    <a:lumOff val="35000"/>
                  </a:schemeClr>
                </a:solidFill>
                <a:latin typeface="+mn-lt"/>
                <a:ea typeface="+mn-ea"/>
                <a:cs typeface="+mn-cs"/>
              </a:defRPr>
            </a:pPr>
            <a:r>
              <a:rPr lang="en-US" sz="2400" cap="none" baseline="0">
                <a:solidFill>
                  <a:schemeClr val="accent2">
                    <a:lumMod val="50000"/>
                  </a:schemeClr>
                </a:solidFill>
              </a:rPr>
              <a:t>NAPHS Development Status (N=13)</a:t>
            </a:r>
          </a:p>
          <a:p>
            <a:pPr>
              <a:defRPr sz="2400"/>
            </a:pPr>
            <a:r>
              <a:rPr lang="en-US" sz="1600" i="1" cap="none" baseline="0">
                <a:solidFill>
                  <a:schemeClr val="accent2">
                    <a:lumMod val="50000"/>
                  </a:schemeClr>
                </a:solidFill>
              </a:rPr>
              <a:t>Questionnaire sent to those which completed JEE</a:t>
            </a:r>
          </a:p>
        </c:rich>
      </c:tx>
      <c:layout>
        <c:manualLayout>
          <c:xMode val="edge"/>
          <c:yMode val="edge"/>
          <c:x val="0.18057523667812347"/>
          <c:y val="2.7450978755950928E-2"/>
        </c:manualLayout>
      </c:layout>
      <c:overlay val="0"/>
      <c:spPr>
        <a:noFill/>
        <a:ln>
          <a:noFill/>
        </a:ln>
        <a:effectLst/>
      </c:spPr>
      <c:txPr>
        <a:bodyPr rot="0" spcFirstLastPara="1" vertOverflow="ellipsis" vert="horz" wrap="square" anchor="ctr" anchorCtr="1"/>
        <a:lstStyle/>
        <a:p>
          <a:pPr>
            <a:defRPr sz="2400" b="1" i="0" u="none" strike="noStrike" kern="1200" cap="all" baseline="0">
              <a:solidFill>
                <a:schemeClr val="tx1">
                  <a:lumMod val="65000"/>
                  <a:lumOff val="35000"/>
                </a:schemeClr>
              </a:solidFill>
              <a:latin typeface="+mn-lt"/>
              <a:ea typeface="+mn-ea"/>
              <a:cs typeface="+mn-cs"/>
            </a:defRPr>
          </a:pPr>
          <a:endParaRPr lang="zh-CN"/>
        </a:p>
      </c:txPr>
    </c:title>
    <c:autoTitleDeleted val="0"/>
    <c:plotArea>
      <c:layout>
        <c:manualLayout>
          <c:layoutTarget val="inner"/>
          <c:xMode val="edge"/>
          <c:yMode val="edge"/>
          <c:x val="0.4276256263256073"/>
          <c:y val="0.32795289158821106"/>
          <c:w val="0.33815652132034302"/>
          <c:h val="0.51071572303771973"/>
        </c:manualLayout>
      </c:layout>
      <c:pieChart>
        <c:varyColors val="1"/>
        <c:ser>
          <c:idx val="0"/>
          <c:order val="0"/>
          <c:tx>
            <c:strRef>
              <c:f>'Q1.NAPHSdev'!$H$33</c:f>
              <c:strCache>
                <c:ptCount val="1"/>
                <c:pt idx="0">
                  <c:v>NAPHS Status</c:v>
                </c:pt>
              </c:strCache>
            </c:strRef>
          </c:tx>
          <c:dPt>
            <c:idx val="0"/>
            <c:bubble3D val="0"/>
            <c:spPr>
              <a:solidFill>
                <a:schemeClr val="accent6"/>
              </a:solidFill>
              <a:ln>
                <a:noFill/>
              </a:ln>
              <a:effectLst>
                <a:outerShdw blurRad="63500" sx="102000" sy="102000" algn="ctr" rotWithShape="0">
                  <a:prstClr val="black">
                    <a:alpha val="20000"/>
                  </a:prstClr>
                </a:outerShdw>
              </a:effectLst>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1-F17D-41D0-9F40-F8924EABBCDC}"/>
              </c:ext>
            </c:extLst>
          </c:dPt>
          <c:dPt>
            <c:idx val="1"/>
            <c:bubble3D val="0"/>
            <c:spPr>
              <a:solidFill>
                <a:schemeClr val="accent5"/>
              </a:solidFill>
              <a:ln>
                <a:noFill/>
              </a:ln>
              <a:effectLst>
                <a:outerShdw blurRad="63500" sx="102000" sy="102000" algn="ctr" rotWithShape="0">
                  <a:prstClr val="black">
                    <a:alpha val="20000"/>
                  </a:prstClr>
                </a:outerShdw>
              </a:effectLst>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3-F17D-41D0-9F40-F8924EABBCDC}"/>
              </c:ext>
            </c:extLst>
          </c:dPt>
          <c:dPt>
            <c:idx val="2"/>
            <c:bubble3D val="0"/>
            <c:spPr>
              <a:solidFill>
                <a:schemeClr val="accent4"/>
              </a:solidFill>
              <a:ln>
                <a:noFill/>
              </a:ln>
              <a:effectLst>
                <a:outerShdw blurRad="63500" sx="102000" sy="102000" algn="ctr" rotWithShape="0">
                  <a:prstClr val="black">
                    <a:alpha val="20000"/>
                  </a:prstClr>
                </a:outerShdw>
              </a:effectLst>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5-F17D-41D0-9F40-F8924EABBCDC}"/>
              </c:ext>
            </c:extLst>
          </c:dPt>
          <c:dPt>
            <c:idx val="3"/>
            <c:bubble3D val="0"/>
            <c:spPr>
              <a:solidFill>
                <a:schemeClr val="accent6">
                  <a:lumMod val="60000"/>
                </a:schemeClr>
              </a:solidFill>
              <a:ln>
                <a:noFill/>
              </a:ln>
              <a:effectLst>
                <a:outerShdw blurRad="63500" sx="102000" sy="102000" algn="ctr" rotWithShape="0">
                  <a:prstClr val="black">
                    <a:alpha val="20000"/>
                  </a:prstClr>
                </a:outerShdw>
              </a:effectLst>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7-F17D-41D0-9F40-F8924EABBCDC}"/>
              </c:ext>
            </c:extLst>
          </c:dPt>
          <c:dPt>
            <c:idx val="4"/>
            <c:bubble3D val="0"/>
            <c:spPr>
              <a:solidFill>
                <a:schemeClr val="accent5">
                  <a:lumMod val="60000"/>
                </a:schemeClr>
              </a:solidFill>
              <a:ln>
                <a:noFill/>
              </a:ln>
              <a:effectLst>
                <a:outerShdw blurRad="63500" sx="102000" sy="102000" algn="ctr" rotWithShape="0">
                  <a:prstClr val="black">
                    <a:alpha val="20000"/>
                  </a:prstClr>
                </a:outerShdw>
              </a:effectLst>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9-F17D-41D0-9F40-F8924EABBCDC}"/>
              </c:ext>
            </c:extLst>
          </c:dPt>
          <c:dPt>
            <c:idx val="5"/>
            <c:bubble3D val="0"/>
            <c:spPr>
              <a:solidFill>
                <a:schemeClr val="accent4">
                  <a:lumMod val="60000"/>
                </a:schemeClr>
              </a:solidFill>
              <a:ln>
                <a:noFill/>
              </a:ln>
              <a:effectLst>
                <a:outerShdw blurRad="63500" sx="102000" sy="102000" algn="ctr" rotWithShape="0">
                  <a:prstClr val="black">
                    <a:alpha val="20000"/>
                  </a:prstClr>
                </a:outerShdw>
              </a:effectLst>
            </c:spP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B-F17D-41D0-9F40-F8924EABBCDC}"/>
              </c:ext>
            </c:extLst>
          </c:dPt>
          <c:dLbls>
            <c:dLbl>
              <c:idx val="0"/>
              <c:layout>
                <c:manualLayout>
                  <c:x val="3.4628063440322876E-2"/>
                  <c:y val="-3.0882351100444794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D5E76855-F528-4C91-A398-5E5509B81D9F}" type="CATEGORYNAME">
                      <a:rPr lang="en-US" altLang="zh-CN" sz="1600" smtClean="0">
                        <a:solidFill>
                          <a:schemeClr val="accent2">
                            <a:lumMod val="50000"/>
                          </a:schemeClr>
                        </a:solidFill>
                      </a:rPr>
                      <a:pPr>
                        <a:defRPr sz="1600">
                          <a:solidFill>
                            <a:schemeClr val="accent2">
                              <a:lumMod val="50000"/>
                            </a:schemeClr>
                          </a:solidFill>
                        </a:defRPr>
                      </a:pPr>
                      <a:t>[类别名称]</a:t>
                    </a:fld>
                    <a:r>
                      <a:rPr lang="en-US" sz="1600">
                        <a:solidFill>
                          <a:schemeClr val="accent2">
                            <a:lumMod val="50000"/>
                          </a:schemeClr>
                        </a:solidFill>
                      </a:rPr>
                      <a:t> (0)</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zh-CN"/>
                </a:p>
              </c:txPr>
              <c:dLblPos val="bestFit"/>
              <c:showLegendKey val="0"/>
              <c:showVal val="0"/>
              <c:showCatName val="1"/>
              <c:showSerName val="0"/>
              <c:showPercent val="0"/>
              <c:showBubbleSize val="0"/>
              <c:separator>, </c:separato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1-F17D-41D0-9F40-F8924EABBCDC}"/>
                </c:ext>
              </c:extLst>
            </c:dLbl>
            <c:dLbl>
              <c:idx val="1"/>
              <c:layout>
                <c:manualLayout>
                  <c:x val="7.9587101936340332E-2"/>
                  <c:y val="-2.2323070093989372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24EA23C9-29A6-4DCD-8CCB-9691E5C5F563}" type="CATEGORYNAME">
                      <a:rPr lang="en-US" altLang="zh-CN" sz="1600">
                        <a:solidFill>
                          <a:schemeClr val="accent2">
                            <a:lumMod val="50000"/>
                          </a:schemeClr>
                        </a:solidFill>
                      </a:rPr>
                      <a:pPr>
                        <a:defRPr sz="1600">
                          <a:solidFill>
                            <a:schemeClr val="accent2">
                              <a:lumMod val="50000"/>
                            </a:schemeClr>
                          </a:solidFill>
                        </a:defRPr>
                      </a:pPr>
                      <a:t>[类别名称]</a:t>
                    </a:fld>
                    <a:r>
                      <a:rPr lang="en-US" sz="1600">
                        <a:solidFill>
                          <a:schemeClr val="accent2">
                            <a:lumMod val="50000"/>
                          </a:schemeClr>
                        </a:solidFill>
                      </a:rPr>
                      <a:t> (</a:t>
                    </a:r>
                    <a:fld id="{89C2CA31-3897-48BD-85A7-8A667233A5F1}" type="VALUE">
                      <a:rPr lang="en-US" altLang="zh-CN" sz="1600">
                        <a:solidFill>
                          <a:schemeClr val="accent2">
                            <a:lumMod val="50000"/>
                          </a:schemeClr>
                        </a:solidFill>
                      </a:rPr>
                      <a:pPr>
                        <a:defRPr sz="1600">
                          <a:solidFill>
                            <a:schemeClr val="accent2">
                              <a:lumMod val="50000"/>
                            </a:schemeClr>
                          </a:solidFill>
                        </a:defRPr>
                      </a:pPr>
                      <a:t>[值]</a:t>
                    </a:fld>
                    <a:r>
                      <a:rPr lang="en-US" sz="1600">
                        <a:solidFill>
                          <a:schemeClr val="accent2">
                            <a:lumMod val="50000"/>
                          </a:schemeClr>
                        </a:solidFill>
                      </a:rPr>
                      <a:t>, </a:t>
                    </a:r>
                    <a:fld id="{5473A8D2-4DFD-4A1B-AD57-531590B7B442}" type="PERCENTAGE">
                      <a:rPr lang="en-US" altLang="zh-CN" sz="1600">
                        <a:solidFill>
                          <a:schemeClr val="accent2">
                            <a:lumMod val="50000"/>
                          </a:schemeClr>
                        </a:solidFill>
                      </a:rPr>
                      <a:pPr>
                        <a:defRPr sz="1600">
                          <a:solidFill>
                            <a:schemeClr val="accent2">
                              <a:lumMod val="50000"/>
                            </a:schemeClr>
                          </a:solidFill>
                        </a:defRPr>
                      </a:pPr>
                      <a:t>[百分比]</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zh-CN"/>
                </a:p>
              </c:txPr>
              <c:dLblPos val="bestFit"/>
              <c:showLegendKey val="0"/>
              <c:showVal val="1"/>
              <c:showCatName val="1"/>
              <c:showSerName val="0"/>
              <c:showPercent val="1"/>
              <c:showBubbleSize val="0"/>
              <c:separator>, </c:separato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3-F17D-41D0-9F40-F8924EABBCDC}"/>
                </c:ext>
              </c:extLst>
            </c:dLbl>
            <c:dLbl>
              <c:idx val="2"/>
              <c:layout>
                <c:manualLayout>
                  <c:x val="0.11442316323518753"/>
                  <c:y val="8.2352936267852783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C15B3C9C-F54D-4CC2-BF91-5136963BA897}" type="CATEGORYNAME">
                      <a:rPr lang="en-US" altLang="zh-CN" sz="1600">
                        <a:solidFill>
                          <a:schemeClr val="accent2">
                            <a:lumMod val="50000"/>
                          </a:schemeClr>
                        </a:solidFill>
                      </a:rPr>
                      <a:pPr>
                        <a:defRPr sz="1600">
                          <a:solidFill>
                            <a:schemeClr val="accent2">
                              <a:lumMod val="50000"/>
                            </a:schemeClr>
                          </a:solidFill>
                        </a:defRPr>
                      </a:pPr>
                      <a:t>[类别名称]</a:t>
                    </a:fld>
                    <a:r>
                      <a:rPr lang="en-US" sz="1600">
                        <a:solidFill>
                          <a:schemeClr val="accent2">
                            <a:lumMod val="50000"/>
                          </a:schemeClr>
                        </a:solidFill>
                      </a:rPr>
                      <a:t> (</a:t>
                    </a:r>
                    <a:fld id="{CBC0584E-0EBF-4C98-8482-3794D8F75478}" type="VALUE">
                      <a:rPr lang="en-US" altLang="zh-CN" sz="1600">
                        <a:solidFill>
                          <a:schemeClr val="accent2">
                            <a:lumMod val="50000"/>
                          </a:schemeClr>
                        </a:solidFill>
                      </a:rPr>
                      <a:pPr>
                        <a:defRPr sz="1600">
                          <a:solidFill>
                            <a:schemeClr val="accent2">
                              <a:lumMod val="50000"/>
                            </a:schemeClr>
                          </a:solidFill>
                        </a:defRPr>
                      </a:pPr>
                      <a:t>[值]</a:t>
                    </a:fld>
                    <a:r>
                      <a:rPr lang="en-US" sz="1600">
                        <a:solidFill>
                          <a:schemeClr val="accent2">
                            <a:lumMod val="50000"/>
                          </a:schemeClr>
                        </a:solidFill>
                      </a:rPr>
                      <a:t>, </a:t>
                    </a:r>
                    <a:fld id="{BFF0852D-6FE1-438E-BBBB-A49EFEC8AD09}" type="PERCENTAGE">
                      <a:rPr lang="en-US" altLang="zh-CN" sz="1600">
                        <a:solidFill>
                          <a:schemeClr val="accent2">
                            <a:lumMod val="50000"/>
                          </a:schemeClr>
                        </a:solidFill>
                      </a:rPr>
                      <a:pPr>
                        <a:defRPr sz="1600">
                          <a:solidFill>
                            <a:schemeClr val="accent2">
                              <a:lumMod val="50000"/>
                            </a:schemeClr>
                          </a:solidFill>
                        </a:defRPr>
                      </a:pPr>
                      <a:t>[百分比]</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zh-CN"/>
                </a:p>
              </c:txPr>
              <c:dLblPos val="bestFit"/>
              <c:showLegendKey val="0"/>
              <c:showVal val="1"/>
              <c:showCatName val="1"/>
              <c:showSerName val="0"/>
              <c:showPercent val="1"/>
              <c:showBubbleSize val="0"/>
              <c:separator>, </c:separato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5-F17D-41D0-9F40-F8924EABBCDC}"/>
                </c:ext>
              </c:extLst>
            </c:dLbl>
            <c:dLbl>
              <c:idx val="3"/>
              <c:layout>
                <c:manualLayout>
                  <c:x val="2.4089086800813675E-2"/>
                  <c:y val="3.7745095789432526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4336B972-9F70-4816-B5F9-B1D230949EAF}" type="CATEGORYNAME">
                      <a:rPr lang="en-US" altLang="zh-CN" sz="1600">
                        <a:solidFill>
                          <a:schemeClr val="accent2">
                            <a:lumMod val="50000"/>
                          </a:schemeClr>
                        </a:solidFill>
                      </a:rPr>
                      <a:pPr>
                        <a:defRPr sz="1600">
                          <a:solidFill>
                            <a:schemeClr val="accent2">
                              <a:lumMod val="50000"/>
                            </a:schemeClr>
                          </a:solidFill>
                        </a:defRPr>
                      </a:pPr>
                      <a:t>[类别名称]</a:t>
                    </a:fld>
                    <a:endParaRPr lang="en-US" sz="1600">
                      <a:solidFill>
                        <a:schemeClr val="accent2">
                          <a:lumMod val="50000"/>
                        </a:schemeClr>
                      </a:solidFill>
                    </a:endParaRPr>
                  </a:p>
                  <a:p>
                    <a:pPr>
                      <a:defRPr sz="1600">
                        <a:solidFill>
                          <a:schemeClr val="accent2">
                            <a:lumMod val="50000"/>
                          </a:schemeClr>
                        </a:solidFill>
                      </a:defRPr>
                    </a:pPr>
                    <a:r>
                      <a:rPr lang="en-US" sz="1600">
                        <a:solidFill>
                          <a:schemeClr val="accent2">
                            <a:lumMod val="50000"/>
                          </a:schemeClr>
                        </a:solidFill>
                      </a:rPr>
                      <a:t> (</a:t>
                    </a:r>
                    <a:fld id="{462FC019-496D-4807-8FC6-AD61707FAF01}" type="VALUE">
                      <a:rPr lang="en-US" altLang="zh-CN" sz="1600">
                        <a:solidFill>
                          <a:schemeClr val="accent2">
                            <a:lumMod val="50000"/>
                          </a:schemeClr>
                        </a:solidFill>
                      </a:rPr>
                      <a:pPr>
                        <a:defRPr sz="1600">
                          <a:solidFill>
                            <a:schemeClr val="accent2">
                              <a:lumMod val="50000"/>
                            </a:schemeClr>
                          </a:solidFill>
                        </a:defRPr>
                      </a:pPr>
                      <a:t>[值]</a:t>
                    </a:fld>
                    <a:r>
                      <a:rPr lang="en-US" sz="1600">
                        <a:solidFill>
                          <a:schemeClr val="accent2">
                            <a:lumMod val="50000"/>
                          </a:schemeClr>
                        </a:solidFill>
                      </a:rPr>
                      <a:t>, </a:t>
                    </a:r>
                    <a:fld id="{A056BD9E-BE9A-42D1-ACED-E6A8BD5A378E}" type="PERCENTAGE">
                      <a:rPr lang="en-US" altLang="zh-CN" sz="1600">
                        <a:solidFill>
                          <a:schemeClr val="accent2">
                            <a:lumMod val="50000"/>
                          </a:schemeClr>
                        </a:solidFill>
                      </a:rPr>
                      <a:pPr>
                        <a:defRPr sz="1600">
                          <a:solidFill>
                            <a:schemeClr val="accent2">
                              <a:lumMod val="50000"/>
                            </a:schemeClr>
                          </a:solidFill>
                        </a:defRPr>
                      </a:pPr>
                      <a:t>[百分比]</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zh-CN"/>
                </a:p>
              </c:txPr>
              <c:dLblPos val="bestFit"/>
              <c:showLegendKey val="0"/>
              <c:showVal val="1"/>
              <c:showCatName val="1"/>
              <c:showSerName val="0"/>
              <c:showPercent val="1"/>
              <c:showBubbleSize val="0"/>
              <c:separator>, </c:separato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7-F17D-41D0-9F40-F8924EABBCDC}"/>
                </c:ext>
              </c:extLst>
            </c:dLbl>
            <c:dLbl>
              <c:idx val="4"/>
              <c:layout>
                <c:manualLayout>
                  <c:x val="-5.4200444370508194E-2"/>
                  <c:y val="2.4019606411457062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67DE8F5C-580F-471A-8754-E04FB01469AD}" type="CATEGORYNAME">
                      <a:rPr lang="en-US" altLang="zh-CN" sz="1600">
                        <a:solidFill>
                          <a:schemeClr val="accent2">
                            <a:lumMod val="50000"/>
                          </a:schemeClr>
                        </a:solidFill>
                      </a:rPr>
                      <a:pPr>
                        <a:defRPr sz="1600">
                          <a:solidFill>
                            <a:schemeClr val="accent2">
                              <a:lumMod val="50000"/>
                            </a:schemeClr>
                          </a:solidFill>
                        </a:defRPr>
                      </a:pPr>
                      <a:t>[类别名称]</a:t>
                    </a:fld>
                    <a:r>
                      <a:rPr lang="en-US" sz="1600">
                        <a:solidFill>
                          <a:schemeClr val="accent2">
                            <a:lumMod val="50000"/>
                          </a:schemeClr>
                        </a:solidFill>
                      </a:rPr>
                      <a:t> (</a:t>
                    </a:r>
                    <a:fld id="{A5952B4F-1330-48DD-93C2-CEFF563F852D}" type="VALUE">
                      <a:rPr lang="en-US" altLang="zh-CN" sz="1600">
                        <a:solidFill>
                          <a:schemeClr val="accent2">
                            <a:lumMod val="50000"/>
                          </a:schemeClr>
                        </a:solidFill>
                      </a:rPr>
                      <a:pPr>
                        <a:defRPr sz="1600">
                          <a:solidFill>
                            <a:schemeClr val="accent2">
                              <a:lumMod val="50000"/>
                            </a:schemeClr>
                          </a:solidFill>
                        </a:defRPr>
                      </a:pPr>
                      <a:t>[值]</a:t>
                    </a:fld>
                    <a:r>
                      <a:rPr lang="en-US" sz="1600">
                        <a:solidFill>
                          <a:schemeClr val="accent2">
                            <a:lumMod val="50000"/>
                          </a:schemeClr>
                        </a:solidFill>
                      </a:rPr>
                      <a:t>, </a:t>
                    </a:r>
                    <a:fld id="{43DEA853-6B98-41CD-89A3-C9ED4ED60BA0}" type="PERCENTAGE">
                      <a:rPr lang="en-US" altLang="zh-CN" sz="1600">
                        <a:solidFill>
                          <a:schemeClr val="accent2">
                            <a:lumMod val="50000"/>
                          </a:schemeClr>
                        </a:solidFill>
                      </a:rPr>
                      <a:pPr>
                        <a:defRPr sz="1600">
                          <a:solidFill>
                            <a:schemeClr val="accent2">
                              <a:lumMod val="50000"/>
                            </a:schemeClr>
                          </a:solidFill>
                        </a:defRPr>
                      </a:pPr>
                      <a:t>[百分比]</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zh-CN"/>
                </a:p>
              </c:txPr>
              <c:dLblPos val="bestFit"/>
              <c:showLegendKey val="0"/>
              <c:showVal val="1"/>
              <c:showCatName val="1"/>
              <c:showSerName val="0"/>
              <c:showPercent val="1"/>
              <c:showBubbleSize val="0"/>
              <c:separator>, </c:separato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9-F17D-41D0-9F40-F8924EABBCDC}"/>
                </c:ext>
              </c:extLst>
            </c:dLbl>
            <c:dLbl>
              <c:idx val="5"/>
              <c:layout>
                <c:manualLayout>
                  <c:x val="-0.11592873185873032"/>
                  <c:y val="3.0882351100444794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4FAFB749-3C23-43DC-A718-92AD183112F3}" type="CATEGORYNAME">
                      <a:rPr lang="en-US" altLang="zh-CN" sz="1600">
                        <a:solidFill>
                          <a:schemeClr val="accent2">
                            <a:lumMod val="50000"/>
                          </a:schemeClr>
                        </a:solidFill>
                      </a:rPr>
                      <a:pPr>
                        <a:defRPr sz="1600">
                          <a:solidFill>
                            <a:schemeClr val="accent2">
                              <a:lumMod val="50000"/>
                            </a:schemeClr>
                          </a:solidFill>
                        </a:defRPr>
                      </a:pPr>
                      <a:t>[类别名称]</a:t>
                    </a:fld>
                    <a:r>
                      <a:rPr lang="en-US" sz="1600">
                        <a:solidFill>
                          <a:schemeClr val="accent2">
                            <a:lumMod val="50000"/>
                          </a:schemeClr>
                        </a:solidFill>
                      </a:rPr>
                      <a:t> NAPHS developed (</a:t>
                    </a:r>
                    <a:fld id="{1334AE1F-CC47-4680-8861-041031351F0F}" type="VALUE">
                      <a:rPr lang="en-US" altLang="zh-CN" sz="1600">
                        <a:solidFill>
                          <a:schemeClr val="accent2">
                            <a:lumMod val="50000"/>
                          </a:schemeClr>
                        </a:solidFill>
                      </a:rPr>
                      <a:pPr>
                        <a:defRPr sz="1600">
                          <a:solidFill>
                            <a:schemeClr val="accent2">
                              <a:lumMod val="50000"/>
                            </a:schemeClr>
                          </a:solidFill>
                        </a:defRPr>
                      </a:pPr>
                      <a:t>[值]</a:t>
                    </a:fld>
                    <a:r>
                      <a:rPr lang="en-US" sz="1600">
                        <a:solidFill>
                          <a:schemeClr val="accent2">
                            <a:lumMod val="50000"/>
                          </a:schemeClr>
                        </a:solidFill>
                      </a:rPr>
                      <a:t>, </a:t>
                    </a:r>
                    <a:fld id="{E03516E7-6E41-49B6-8882-6E9CDBFF0CC0}" type="PERCENTAGE">
                      <a:rPr lang="en-US" altLang="zh-CN" sz="1600">
                        <a:solidFill>
                          <a:schemeClr val="accent2">
                            <a:lumMod val="50000"/>
                          </a:schemeClr>
                        </a:solidFill>
                      </a:rPr>
                      <a:pPr>
                        <a:defRPr sz="1600">
                          <a:solidFill>
                            <a:schemeClr val="accent2">
                              <a:lumMod val="50000"/>
                            </a:schemeClr>
                          </a:solidFill>
                        </a:defRPr>
                      </a:pPr>
                      <a:t>[百分比]</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zh-CN"/>
                </a:p>
              </c:txPr>
              <c:dLblPos val="bestFit"/>
              <c:showLegendKey val="0"/>
              <c:showVal val="1"/>
              <c:showCatName val="1"/>
              <c:showSerName val="0"/>
              <c:showPercent val="1"/>
              <c:showBubbleSize val="0"/>
              <c:separator>, </c:separator>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15:dlblFieldTable/>
                  <c15:showDataLabelsRange val="0"/>
                </c:ext>
                <c:ext xmlns:c16="http://schemas.microsoft.com/office/drawing/2014/chart" uri="{C3380CC4-5D6E-409C-BE32-E72D297353CC}">
                  <c16:uniqueId val="{0000000B-F17D-41D0-9F40-F8924EABBCDC}"/>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smtId="4294967295">
                    <a:solidFill>
                      <a:schemeClr val="accent2">
                        <a:lumMod val="50000"/>
                      </a:schemeClr>
                    </a:solidFill>
                    <a:latin typeface="+mn-lt"/>
                    <a:ea typeface="+mn-ea"/>
                    <a:cs typeface="+mn-cs"/>
                  </a:defRPr>
                </a:pPr>
                <a:endParaRPr lang="zh-CN"/>
              </a:p>
            </c:tx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5="http://schemas.microsoft.com/office/drawing/2012/chart" uri="{CE6537A1-D6FC-4f65-9D91-7224C49458BB}"/>
            </c:extLst>
          </c:dLbls>
          <c:cat>
            <c:strRef>
              <c:f>'Q1.NAPHSdev'!$G$34:$G$39</c:f>
              <c:strCache>
                <c:ptCount val="6"/>
                <c:pt idx="0">
                  <c:v>Completed, Actions Implemented</c:v>
                </c:pt>
                <c:pt idx="1">
                  <c:v>Completed, not implemented</c:v>
                </c:pt>
                <c:pt idx="2">
                  <c:v>Planned to be developed</c:v>
                </c:pt>
                <c:pt idx="3">
                  <c:v>In development</c:v>
                </c:pt>
                <c:pt idx="4">
                  <c:v>Others</c:v>
                </c:pt>
                <c:pt idx="5">
                  <c:v>No</c:v>
                </c:pt>
              </c:strCache>
            </c:strRef>
          </c:cat>
          <c:val>
            <c:numRef>
              <c:f>'Q1.NAPHSdev'!$H$34:$H$39</c:f>
              <c:numCache>
                <c:formatCode>General</c:formatCode>
                <c:ptCount val="6"/>
                <c:pt idx="0">
                  <c:v>0</c:v>
                </c:pt>
                <c:pt idx="1">
                  <c:v>3</c:v>
                </c:pt>
                <c:pt idx="2">
                  <c:v>2</c:v>
                </c:pt>
                <c:pt idx="3">
                  <c:v>3</c:v>
                </c:pt>
                <c:pt idx="4">
                  <c:v>3</c:v>
                </c:pt>
                <c:pt idx="5">
                  <c:v>2</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C-F17D-41D0-9F40-F8924EABBCD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r>
              <a:rPr lang="en-PH" sz="2000" b="1">
                <a:solidFill>
                  <a:srgbClr val="002060"/>
                </a:solidFill>
              </a:rPr>
              <a:t>NAPHS Development</a:t>
            </a:r>
            <a:r>
              <a:rPr lang="en-PH" sz="2000" b="1" baseline="0">
                <a:solidFill>
                  <a:srgbClr val="002060"/>
                </a:solidFill>
              </a:rPr>
              <a:t> Enabling Factors (N=8)</a:t>
            </a:r>
            <a:endParaRPr lang="en-PH" sz="2000" b="1">
              <a:solidFill>
                <a:srgbClr val="002060"/>
              </a:solidFill>
            </a:endParaRPr>
          </a:p>
        </c:rich>
      </c:tx>
      <c:layout>
        <c:manualLayout>
          <c:xMode val="edge"/>
          <c:yMode val="edge"/>
          <c:x val="0.250933438539505"/>
          <c:y val="5.638511851429939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endParaRPr lang="zh-CN"/>
        </a:p>
      </c:txPr>
    </c:title>
    <c:autoTitleDeleted val="0"/>
    <c:plotArea>
      <c:layout>
        <c:manualLayout>
          <c:layoutTarget val="inner"/>
          <c:xMode val="edge"/>
          <c:yMode val="edge"/>
          <c:x val="5.7105366140604019E-2"/>
          <c:y val="0.19416792690753937"/>
          <c:w val="0.92713010311126709"/>
          <c:h val="0.5947689414024353"/>
        </c:manualLayout>
      </c:layout>
      <c:barChart>
        <c:barDir val="col"/>
        <c:grouping val="stacked"/>
        <c:varyColors val="0"/>
        <c:ser>
          <c:idx val="0"/>
          <c:order val="0"/>
          <c:tx>
            <c:strRef>
              <c:f>'Q2.enabling analysis'!$A$13</c:f>
              <c:strCache>
                <c:ptCount val="1"/>
                <c:pt idx="0">
                  <c:v>Agree</c:v>
                </c:pt>
              </c:strCache>
            </c:strRef>
          </c:tx>
          <c:spPr>
            <a:solidFill>
              <a:srgbClr val="00B050"/>
            </a:solidFill>
            <a:ln>
              <a:noFill/>
            </a:ln>
            <a:effectLst/>
          </c:spPr>
          <c:invertIfNegative val="0"/>
          <c:cat>
            <c:strRef>
              <c:f>'Q2.enabling analysis'!$B$12:$K$12</c:f>
              <c:strCache>
                <c:ptCount val="8"/>
                <c:pt idx="0">
                  <c:v>Political Will/ Leadership</c:v>
                </c:pt>
                <c:pt idx="1">
                  <c:v>Governance</c:v>
                </c:pt>
                <c:pt idx="2">
                  <c:v>Financial Resources</c:v>
                </c:pt>
                <c:pt idx="3">
                  <c:v>Human Resources</c:v>
                </c:pt>
                <c:pt idx="4">
                  <c:v>Stakeholder engagement</c:v>
                </c:pt>
                <c:pt idx="5">
                  <c:v>Technical Expertise</c:v>
                </c:pt>
                <c:pt idx="6">
                  <c:v>Institutional Policy</c:v>
                </c:pt>
                <c:pt idx="7">
                  <c:v>Health System Integration</c:v>
                </c:pt>
              </c:strCache>
            </c:strRef>
          </c:cat>
          <c:val>
            <c:numRef>
              <c:f>'Q2.enabling analysis'!$B$13:$K$13</c:f>
              <c:numCache>
                <c:formatCode>General</c:formatCode>
                <c:ptCount val="8"/>
                <c:pt idx="0">
                  <c:v>2</c:v>
                </c:pt>
                <c:pt idx="1">
                  <c:v>1</c:v>
                </c:pt>
                <c:pt idx="2">
                  <c:v>1</c:v>
                </c:pt>
                <c:pt idx="3">
                  <c:v>2</c:v>
                </c:pt>
                <c:pt idx="4">
                  <c:v>1</c:v>
                </c:pt>
                <c:pt idx="5">
                  <c:v>3</c:v>
                </c:pt>
                <c:pt idx="6">
                  <c:v>2</c:v>
                </c:pt>
                <c:pt idx="7">
                  <c:v>2</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0-07F9-417E-BDC4-8174C66D2FF0}"/>
            </c:ext>
          </c:extLst>
        </c:ser>
        <c:ser>
          <c:idx val="1"/>
          <c:order val="1"/>
          <c:tx>
            <c:strRef>
              <c:f>'Q2.enabling analysis'!$A$14</c:f>
              <c:strCache>
                <c:ptCount val="1"/>
                <c:pt idx="0">
                  <c:v>Somewhat agree</c:v>
                </c:pt>
              </c:strCache>
            </c:strRef>
          </c:tx>
          <c:spPr>
            <a:solidFill>
              <a:srgbClr val="92D050"/>
            </a:solidFill>
            <a:ln>
              <a:noFill/>
            </a:ln>
            <a:effectLst/>
          </c:spPr>
          <c:invertIfNegative val="0"/>
          <c:cat>
            <c:strRef>
              <c:f>'Q2.enabling analysis'!$B$12:$K$12</c:f>
              <c:strCache>
                <c:ptCount val="8"/>
                <c:pt idx="0">
                  <c:v>Political Will/ Leadership</c:v>
                </c:pt>
                <c:pt idx="1">
                  <c:v>Governance</c:v>
                </c:pt>
                <c:pt idx="2">
                  <c:v>Financial Resources</c:v>
                </c:pt>
                <c:pt idx="3">
                  <c:v>Human Resources</c:v>
                </c:pt>
                <c:pt idx="4">
                  <c:v>Stakeholder engagement</c:v>
                </c:pt>
                <c:pt idx="5">
                  <c:v>Technical Expertise</c:v>
                </c:pt>
                <c:pt idx="6">
                  <c:v>Institutional Policy</c:v>
                </c:pt>
                <c:pt idx="7">
                  <c:v>Health System Integration</c:v>
                </c:pt>
              </c:strCache>
            </c:strRef>
          </c:cat>
          <c:val>
            <c:numRef>
              <c:f>'Q2.enabling analysis'!$B$14:$K$14</c:f>
              <c:numCache>
                <c:formatCode>General</c:formatCode>
                <c:ptCount val="8"/>
                <c:pt idx="0">
                  <c:v>4</c:v>
                </c:pt>
                <c:pt idx="1">
                  <c:v>4</c:v>
                </c:pt>
                <c:pt idx="2">
                  <c:v>1</c:v>
                </c:pt>
                <c:pt idx="3">
                  <c:v>0</c:v>
                </c:pt>
                <c:pt idx="4">
                  <c:v>4</c:v>
                </c:pt>
                <c:pt idx="5">
                  <c:v>2</c:v>
                </c:pt>
                <c:pt idx="6">
                  <c:v>3</c:v>
                </c:pt>
                <c:pt idx="7">
                  <c:v>0</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1-07F9-417E-BDC4-8174C66D2FF0}"/>
            </c:ext>
          </c:extLst>
        </c:ser>
        <c:ser>
          <c:idx val="2"/>
          <c:order val="2"/>
          <c:tx>
            <c:strRef>
              <c:f>'Q2.enabling analysis'!$A$15</c:f>
              <c:strCache>
                <c:ptCount val="1"/>
                <c:pt idx="0">
                  <c:v>Neutral</c:v>
                </c:pt>
              </c:strCache>
            </c:strRef>
          </c:tx>
          <c:spPr>
            <a:solidFill>
              <a:schemeClr val="bg1">
                <a:lumMod val="90000"/>
              </a:schemeClr>
            </a:solidFill>
            <a:ln>
              <a:noFill/>
            </a:ln>
            <a:effectLst/>
          </c:spPr>
          <c:invertIfNegative val="0"/>
          <c:cat>
            <c:strRef>
              <c:f>'Q2.enabling analysis'!$B$12:$K$12</c:f>
              <c:strCache>
                <c:ptCount val="8"/>
                <c:pt idx="0">
                  <c:v>Political Will/ Leadership</c:v>
                </c:pt>
                <c:pt idx="1">
                  <c:v>Governance</c:v>
                </c:pt>
                <c:pt idx="2">
                  <c:v>Financial Resources</c:v>
                </c:pt>
                <c:pt idx="3">
                  <c:v>Human Resources</c:v>
                </c:pt>
                <c:pt idx="4">
                  <c:v>Stakeholder engagement</c:v>
                </c:pt>
                <c:pt idx="5">
                  <c:v>Technical Expertise</c:v>
                </c:pt>
                <c:pt idx="6">
                  <c:v>Institutional Policy</c:v>
                </c:pt>
                <c:pt idx="7">
                  <c:v>Health System Integration</c:v>
                </c:pt>
              </c:strCache>
            </c:strRef>
          </c:cat>
          <c:val>
            <c:numRef>
              <c:f>'Q2.enabling analysis'!$B$15:$K$15</c:f>
              <c:numCache>
                <c:formatCode>General</c:formatCode>
                <c:ptCount val="8"/>
                <c:pt idx="0">
                  <c:v>2</c:v>
                </c:pt>
                <c:pt idx="1">
                  <c:v>3</c:v>
                </c:pt>
                <c:pt idx="2">
                  <c:v>2</c:v>
                </c:pt>
                <c:pt idx="3">
                  <c:v>4</c:v>
                </c:pt>
                <c:pt idx="4">
                  <c:v>2</c:v>
                </c:pt>
                <c:pt idx="5">
                  <c:v>2</c:v>
                </c:pt>
                <c:pt idx="6">
                  <c:v>3</c:v>
                </c:pt>
                <c:pt idx="7">
                  <c:v>4</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2-07F9-417E-BDC4-8174C66D2FF0}"/>
            </c:ext>
          </c:extLst>
        </c:ser>
        <c:ser>
          <c:idx val="3"/>
          <c:order val="3"/>
          <c:tx>
            <c:strRef>
              <c:f>'Q2.enabling analysis'!$A$16</c:f>
              <c:strCache>
                <c:ptCount val="1"/>
                <c:pt idx="0">
                  <c:v>Somewhat disagree</c:v>
                </c:pt>
              </c:strCache>
            </c:strRef>
          </c:tx>
          <c:spPr>
            <a:solidFill>
              <a:srgbClr val="FFC000"/>
            </a:solidFill>
            <a:ln>
              <a:noFill/>
            </a:ln>
            <a:effectLst/>
          </c:spPr>
          <c:invertIfNegative val="0"/>
          <c:cat>
            <c:strRef>
              <c:f>'Q2.enabling analysis'!$B$12:$K$12</c:f>
              <c:strCache>
                <c:ptCount val="8"/>
                <c:pt idx="0">
                  <c:v>Political Will/ Leadership</c:v>
                </c:pt>
                <c:pt idx="1">
                  <c:v>Governance</c:v>
                </c:pt>
                <c:pt idx="2">
                  <c:v>Financial Resources</c:v>
                </c:pt>
                <c:pt idx="3">
                  <c:v>Human Resources</c:v>
                </c:pt>
                <c:pt idx="4">
                  <c:v>Stakeholder engagement</c:v>
                </c:pt>
                <c:pt idx="5">
                  <c:v>Technical Expertise</c:v>
                </c:pt>
                <c:pt idx="6">
                  <c:v>Institutional Policy</c:v>
                </c:pt>
                <c:pt idx="7">
                  <c:v>Health System Integration</c:v>
                </c:pt>
              </c:strCache>
            </c:strRef>
          </c:cat>
          <c:val>
            <c:numRef>
              <c:f>'Q2.enabling analysis'!$B$16:$K$16</c:f>
              <c:numCache>
                <c:formatCode>General</c:formatCode>
                <c:ptCount val="8"/>
                <c:pt idx="0">
                  <c:v>0</c:v>
                </c:pt>
                <c:pt idx="1">
                  <c:v>0</c:v>
                </c:pt>
                <c:pt idx="2">
                  <c:v>3</c:v>
                </c:pt>
                <c:pt idx="3">
                  <c:v>1</c:v>
                </c:pt>
                <c:pt idx="4">
                  <c:v>1</c:v>
                </c:pt>
                <c:pt idx="5">
                  <c:v>1</c:v>
                </c:pt>
                <c:pt idx="6">
                  <c:v>0</c:v>
                </c:pt>
                <c:pt idx="7">
                  <c:v>2</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3-07F9-417E-BDC4-8174C66D2FF0}"/>
            </c:ext>
          </c:extLst>
        </c:ser>
        <c:ser>
          <c:idx val="4"/>
          <c:order val="4"/>
          <c:tx>
            <c:strRef>
              <c:f>'Q2.enabling analysis'!$A$17</c:f>
              <c:strCache>
                <c:ptCount val="1"/>
                <c:pt idx="0">
                  <c:v>Disagree</c:v>
                </c:pt>
              </c:strCache>
            </c:strRef>
          </c:tx>
          <c:spPr>
            <a:solidFill>
              <a:srgbClr val="FF0000"/>
            </a:solidFill>
            <a:ln>
              <a:noFill/>
            </a:ln>
            <a:effectLst/>
          </c:spPr>
          <c:invertIfNegative val="0"/>
          <c:cat>
            <c:strRef>
              <c:f>'Q2.enabling analysis'!$B$12:$K$12</c:f>
              <c:strCache>
                <c:ptCount val="8"/>
                <c:pt idx="0">
                  <c:v>Political Will/ Leadership</c:v>
                </c:pt>
                <c:pt idx="1">
                  <c:v>Governance</c:v>
                </c:pt>
                <c:pt idx="2">
                  <c:v>Financial Resources</c:v>
                </c:pt>
                <c:pt idx="3">
                  <c:v>Human Resources</c:v>
                </c:pt>
                <c:pt idx="4">
                  <c:v>Stakeholder engagement</c:v>
                </c:pt>
                <c:pt idx="5">
                  <c:v>Technical Expertise</c:v>
                </c:pt>
                <c:pt idx="6">
                  <c:v>Institutional Policy</c:v>
                </c:pt>
                <c:pt idx="7">
                  <c:v>Health System Integration</c:v>
                </c:pt>
              </c:strCache>
            </c:strRef>
          </c:cat>
          <c:val>
            <c:numRef>
              <c:f>'Q2.enabling analysis'!$B$17:$K$17</c:f>
              <c:numCache>
                <c:formatCode>General</c:formatCode>
                <c:ptCount val="8"/>
                <c:pt idx="0">
                  <c:v>0</c:v>
                </c:pt>
                <c:pt idx="1">
                  <c:v>0</c:v>
                </c:pt>
                <c:pt idx="2">
                  <c:v>1</c:v>
                </c:pt>
                <c:pt idx="3">
                  <c:v>1</c:v>
                </c:pt>
                <c:pt idx="4">
                  <c:v>0</c:v>
                </c:pt>
                <c:pt idx="5">
                  <c:v>0</c:v>
                </c:pt>
                <c:pt idx="6">
                  <c:v>0</c:v>
                </c:pt>
                <c:pt idx="7">
                  <c:v>0</c:v>
                </c:pt>
              </c:numCache>
            </c:numRef>
          </c:val>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http://schemas.microsoft.com/office/drawing/2014/chart" uri="{C3380CC4-5D6E-409C-BE32-E72D297353CC}">
              <c16:uniqueId val="{00000004-07F9-417E-BDC4-8174C66D2FF0}"/>
            </c:ext>
          </c:extLst>
        </c:ser>
        <c:dLbls>
          <c:showLegendKey val="0"/>
          <c:showVal val="0"/>
          <c:showCatName val="0"/>
          <c:showSerName val="0"/>
          <c:showPercent val="0"/>
          <c:showBubbleSize val="0"/>
        </c:dLbls>
        <c:gapWidth val="150"/>
        <c:overlap val="100"/>
        <c:axId val="2123985872"/>
        <c:axId val="2123964240"/>
      </c:barChart>
      <c:catAx>
        <c:axId val="212398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smtId="4294967295">
                <a:solidFill>
                  <a:srgbClr val="002060"/>
                </a:solidFill>
                <a:latin typeface="+mn-lt"/>
                <a:ea typeface="+mn-ea"/>
                <a:cs typeface="+mn-cs"/>
              </a:defRPr>
            </a:pPr>
            <a:endParaRPr lang="zh-CN"/>
          </a:p>
        </c:txPr>
        <c:crossAx val="2123964240"/>
        <c:crosses val="autoZero"/>
        <c:auto val="0"/>
        <c:lblAlgn val="ctr"/>
        <c:lblOffset val="100"/>
        <c:noMultiLvlLbl val="0"/>
      </c:catAx>
      <c:valAx>
        <c:axId val="2123964240"/>
        <c:scaling>
          <c:orientation val="minMax"/>
          <c:max val="8"/>
        </c:scaling>
        <c:delete val="0"/>
        <c:axPos val="l"/>
        <c:title>
          <c:tx>
            <c:rich>
              <a:bodyPr rot="0" spcFirstLastPara="1" vertOverflow="ellipsis" wrap="square" anchor="ctr" anchorCtr="1"/>
              <a:lstStyle/>
              <a:p>
                <a:pPr>
                  <a:defRPr sz="1200" b="0" i="0" u="none" strike="noStrike" kern="1200" baseline="0">
                    <a:solidFill>
                      <a:srgbClr val="002060"/>
                    </a:solidFill>
                    <a:latin typeface="+mn-lt"/>
                    <a:ea typeface="+mn-ea"/>
                    <a:cs typeface="+mn-cs"/>
                  </a:defRPr>
                </a:pPr>
                <a:r>
                  <a:rPr lang="en-PH" sz="1200">
                    <a:solidFill>
                      <a:srgbClr val="002060"/>
                    </a:solidFill>
                  </a:rPr>
                  <a:t>No. of Responses</a:t>
                </a:r>
              </a:p>
            </c:rich>
          </c:tx>
          <c:layout>
            <c:manualLayout>
              <c:xMode val="edge"/>
              <c:yMode val="edge"/>
              <c:x val="1.1091992259025574E-2"/>
              <c:y val="0.12670539319515228"/>
            </c:manualLayout>
          </c:layout>
          <c:overlay val="0"/>
          <c:spPr>
            <a:noFill/>
            <a:ln>
              <a:noFill/>
            </a:ln>
            <a:effectLst/>
          </c:spPr>
          <c:txPr>
            <a:bodyPr rot="0" spcFirstLastPara="1" vertOverflow="ellipsis" wrap="square" anchor="ctr" anchorCtr="1"/>
            <a:lstStyle/>
            <a:p>
              <a:pPr>
                <a:defRPr sz="1200" b="0" i="0" u="none" strike="noStrike" kern="1200" baseline="0">
                  <a:solidFill>
                    <a:srgbClr val="002060"/>
                  </a:solidFill>
                  <a:latin typeface="+mn-lt"/>
                  <a:ea typeface="+mn-ea"/>
                  <a:cs typeface="+mn-cs"/>
                </a:defRPr>
              </a:pPr>
              <a:endParaRPr lang="zh-CN"/>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smtId="4294967295">
                <a:solidFill>
                  <a:srgbClr val="002060"/>
                </a:solidFill>
                <a:latin typeface="+mn-lt"/>
                <a:ea typeface="+mn-ea"/>
                <a:cs typeface="+mn-cs"/>
              </a:defRPr>
            </a:pPr>
            <a:endParaRPr lang="zh-CN"/>
          </a:p>
        </c:txPr>
        <c:crossAx val="2123985872"/>
        <c:crosses val="autoZero"/>
        <c:crossBetween val="between"/>
      </c:valAx>
      <c:spPr>
        <a:noFill/>
        <a:ln>
          <a:noFill/>
        </a:ln>
        <a:effectLst/>
      </c:spPr>
    </c:plotArea>
    <c:legend>
      <c:legendPos val="b"/>
      <c:layout>
        <c:manualLayout>
          <c:xMode val="edge"/>
          <c:yMode val="edge"/>
          <c:x val="0.163114994764328"/>
          <c:y val="0.88131576776504517"/>
          <c:w val="0.74535059928894043"/>
          <c:h val="8.4429681301116943E-2"/>
        </c:manualLayout>
      </c:layout>
      <c:overlay val="0"/>
      <c:spPr>
        <a:noFill/>
        <a:ln>
          <a:noFill/>
        </a:ln>
        <a:effectLst/>
      </c:spPr>
      <c:txPr>
        <a:bodyPr rot="0" spcFirstLastPara="1" vertOverflow="ellipsis" vert="horz" wrap="square" anchor="ctr" anchorCtr="1"/>
        <a:lstStyle/>
        <a:p>
          <a:pPr>
            <a:defRPr sz="1400" b="0" i="0" u="none" strike="noStrike" kern="1200" baseline="0" smtId="4294967295">
              <a:solidFill>
                <a:srgbClr val="002060"/>
              </a:solidFill>
              <a:latin typeface="+mn-lt"/>
              <a:ea typeface="+mn-ea"/>
              <a:cs typeface="+mn-cs"/>
            </a:defRPr>
          </a:pPr>
          <a:endParaRPr lang="zh-CN"/>
        </a:p>
      </c:txPr>
    </c:legend>
    <c:plotVisOnly val="1"/>
    <c:dispBlanksAs val="gap"/>
    <c:extLst xmlns:a14="http://schemas.microsoft.com/office/drawing/2010/main" xmlns:wp="http://schemas.openxmlformats.org/drawingml/2006/wordprocessingDrawing" xmlns:xml="http://www.w3.org/XML/1998/namespace"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B25686-C135-714D-ADAE-A031C4BC0204}" type="datetimeFigureOut">
              <a:rPr lang="en-US" smtClean="0"/>
              <a:t>11/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85B747-18E9-E746-A276-B387773C2AC8}" type="slidenum">
              <a:rPr lang="en-US" smtClean="0"/>
              <a:t>‹#›</a:t>
            </a:fld>
            <a:endParaRPr lang="en-US"/>
          </a:p>
        </p:txBody>
      </p:sp>
    </p:spTree>
    <p:extLst>
      <p:ext uri="{BB962C8B-B14F-4D97-AF65-F5344CB8AC3E}">
        <p14:creationId xmlns:p14="http://schemas.microsoft.com/office/powerpoint/2010/main" val="19337718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是确保缔约国和世卫组织秘书处之间相互问责以及促进透明度的主要工具。</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a:p>
          <a:p>
            <a:pPr marL="0" marR="0" lvl="0" indent="0" algn="l" defTabSz="914400"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起草第一版是为了扩大受监测能力的范围，并协调进展监测的工作。</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a:p>
          <a:p>
            <a:pPr marL="0" marR="0" lvl="0" indent="0" algn="l" defTabSz="914400"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每年5月举行的世卫大会是世卫组织的治理机构，也标志着年度报告周期的结束。大会上，世卫组织总干事代表世卫组织秘书处就IHR核心能力在全球层面的实施进展进行汇报。</a:t>
            </a:r>
          </a:p>
          <a:p>
            <a:pPr marL="0" marR="0" lvl="0" indent="0" algn="l" defTabSz="914400"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 报告周期</a:t>
            </a:r>
          </a:p>
          <a:p>
            <a:pPr marL="0" marR="0" lvl="0" indent="0" algn="l" defTabSz="914400" rtl="0" eaLnBrk="1" fontAlgn="auto" latinLnBrk="0" hangingPunct="1">
              <a:lnSpc>
                <a:spcPct val="100000"/>
              </a:lnSpc>
              <a:spcBef>
                <a:spcPct val="0"/>
              </a:spcBef>
              <a:spcAft>
                <a:spcPct val="0"/>
              </a:spcAft>
              <a:buClrTx/>
              <a:buSzTx/>
              <a:buFontTx/>
              <a:buNone/>
              <a:defRPr/>
            </a:pPr>
            <a:r>
              <a:rPr lang="zh-Hans" sz="1200" b="0" i="0" u="none" strike="noStrike">
                <a:highlight>
                  <a:srgbClr val="000000">
                    <a:alpha val="0"/>
                  </a:srgbClr>
                </a:highlight>
                <a:latin typeface="Simsun"/>
                <a:ea typeface="Simsun"/>
              </a:rPr>
              <a:t>- 关于区域秘书处对整个周期的支持：我们会为介绍工具的使用和报告过程组织培训和研讨会。在世卫大会之后，我们对报告中的评分进行更详细的地区性分析，然后与所有IHR国家联络点分享。在整个过程中，欢迎随时通过电子邮件联系我们。</a:t>
            </a:r>
          </a:p>
          <a:p>
            <a:endParaRPr lang="en-US"/>
          </a:p>
        </p:txBody>
      </p:sp>
      <p:sp>
        <p:nvSpPr>
          <p:cNvPr id="4" name="Slide Number Placeholder 3"/>
          <p:cNvSpPr>
            <a:spLocks noGrp="1"/>
          </p:cNvSpPr>
          <p:nvPr>
            <p:ph type="sldNum" sz="quarter" idx="5"/>
          </p:nvPr>
        </p:nvSpPr>
        <p:spPr/>
        <p:txBody>
          <a:bodyPr/>
          <a:lstStyle/>
          <a:p>
            <a:fld id="{2385B747-18E9-E746-A276-B387773C2AC8}" type="slidenum">
              <a:rPr lang="en-US" smtClean="0"/>
              <a:t>3</a:t>
            </a:fld>
            <a:endParaRPr lang="en-US"/>
          </a:p>
        </p:txBody>
      </p:sp>
    </p:spTree>
    <p:extLst>
      <p:ext uri="{BB962C8B-B14F-4D97-AF65-F5344CB8AC3E}">
        <p14:creationId xmlns:p14="http://schemas.microsoft.com/office/powerpoint/2010/main" val="1126667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907DFC79-30DA-484F-85C8-36E3971802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7756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608013"/>
            <a:ext cx="7010400" cy="3944937"/>
          </a:xfrm>
        </p:spPr>
      </p:sp>
      <p:sp>
        <p:nvSpPr>
          <p:cNvPr id="3" name="Notes Placeholder 2"/>
          <p:cNvSpPr>
            <a:spLocks noGrp="1"/>
          </p:cNvSpPr>
          <p:nvPr>
            <p:ph type="body" idx="1"/>
          </p:nvPr>
        </p:nvSpPr>
        <p:spPr>
          <a:xfrm>
            <a:off x="704292" y="4785409"/>
            <a:ext cx="5397030" cy="169331"/>
          </a:xfrm>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en-US" sz="1400" b="0" i="0" u="none" strike="noStrike" kern="1200" cap="none" spc="0" normalizeH="0" baseline="0" noProof="0">
                <a:ln>
                  <a:noFill/>
                </a:ln>
                <a:solidFill>
                  <a:srgbClr val="6E6F73"/>
                </a:solidFill>
                <a:effectLst/>
                <a:uLnTx/>
                <a:uFillTx/>
                <a:latin typeface="Trebuchet MS"/>
                <a:ea typeface="+mn-ea"/>
                <a:cs typeface="Arial" panose="020B0604020202020204" pitchFamily="34" charset="0"/>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Arial" panose="020B0604020202020204" pitchFamily="34" charset="0"/>
                <a:sym typeface="+mn-lt"/>
              </a:rPr>
              <a:pPr marL="0" marR="0" lvl="0" indent="0" algn="r" defTabSz="914400" rtl="0" eaLnBrk="1" fontAlgn="auto" latinLnBrk="0" hangingPunct="1">
                <a:lnSpc>
                  <a:spcPct val="100000"/>
                </a:lnSpc>
                <a:spcBef>
                  <a:spcPct val="0"/>
                </a:spcBef>
                <a:spcAft>
                  <a:spcPct val="0"/>
                </a:spcAft>
                <a:buClrTx/>
                <a:buSzTx/>
                <a:buFontTx/>
                <a:buNone/>
                <a:defRPr/>
              </a:pPr>
              <a:t>17</a:t>
            </a:fld>
            <a:endParaRPr kumimoji="0" lang="en-US" sz="1400" b="0" i="0" u="none" strike="noStrike" kern="1200" cap="none" spc="0" normalizeH="0" baseline="0" noProof="0">
              <a:ln>
                <a:noFill/>
              </a:ln>
              <a:solidFill>
                <a:srgbClr val="6E6F73"/>
              </a:solidFill>
              <a:effectLst/>
              <a:uLnTx/>
              <a:uFillTx/>
              <a:latin typeface="Trebuchet MS"/>
              <a:ea typeface="+mn-ea"/>
              <a:cs typeface="Arial" panose="020B0604020202020204" pitchFamily="34" charset="0"/>
              <a:sym typeface="+mn-lt"/>
            </a:endParaRPr>
          </a:p>
        </p:txBody>
      </p:sp>
    </p:spTree>
    <p:extLst>
      <p:ext uri="{BB962C8B-B14F-4D97-AF65-F5344CB8AC3E}">
        <p14:creationId xmlns:p14="http://schemas.microsoft.com/office/powerpoint/2010/main" val="19698567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3323987"/>
          </a:xfrm>
        </p:spPr>
        <p:txBody>
          <a:bodyPr/>
          <a:lstStyle/>
          <a:p>
            <a:pPr rtl="0"/>
            <a:r>
              <a:rPr lang="zh-Hans" sz="1200" b="0" i="0" u="none" strike="noStrike">
                <a:highlight>
                  <a:srgbClr val="000000">
                    <a:alpha val="0"/>
                  </a:srgbClr>
                </a:highlight>
                <a:latin typeface="Simsun"/>
                <a:ea typeface="Simsun"/>
              </a:rPr>
              <a:t>这不是在过去两年半的时间里孤立发展出来的，过程中进行了如IOAC和GPMB的内部审查、专家咨询和如G7和G20的成员国主导进程。此外，成员国主导的世卫组织的相关进程（如INB和IHR修正案）</a:t>
            </a:r>
            <a:br>
              <a:rPr lang="zh-Hans" sz="1200" b="0" i="0" u="none" strike="noStrike">
                <a:highlight>
                  <a:srgbClr val="000000">
                    <a:alpha val="0"/>
                  </a:srgbClr>
                </a:highlight>
                <a:latin typeface="Simsun"/>
                <a:ea typeface="Simsun"/>
              </a:rPr>
            </a:br>
            <a:endParaRPr lang="en-US"/>
          </a:p>
          <a:p>
            <a:pPr rtl="0"/>
            <a:r>
              <a:rPr lang="zh-Hans" sz="1200" b="0" i="0" u="none" strike="noStrike">
                <a:highlight>
                  <a:srgbClr val="000000">
                    <a:alpha val="0"/>
                  </a:srgbClr>
                </a:highlight>
                <a:latin typeface="Simsun"/>
                <a:ea typeface="Simsun"/>
              </a:rPr>
              <a:t>形成了300多条建议</a:t>
            </a:r>
          </a:p>
          <a:p>
            <a:endParaRPr lang="en-US"/>
          </a:p>
          <a:p>
            <a:pPr rtl="0"/>
            <a:r>
              <a:rPr lang="zh-Hans" sz="1200" b="0" i="0" u="none" strike="noStrike">
                <a:highlight>
                  <a:srgbClr val="000000">
                    <a:alpha val="0"/>
                  </a:srgbClr>
                </a:highlight>
                <a:latin typeface="Simsun"/>
                <a:ea typeface="Simsun"/>
              </a:rPr>
              <a:t>大致可分为三类：治理、系统能力和工具以及增加应急准备和反应的融资。此外，这些领域的关键原则还包括</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为所有的人提供公平的获得能力和公平的结果</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对所有利益相关者和决策者的包容性</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与IHR、仙台减少灾害风险框架和机构间常设委员会（IASC)人道主义反应机制等框架保持一致。</a:t>
            </a:r>
          </a:p>
          <a:p>
            <a:endParaRPr lang="en-US"/>
          </a:p>
          <a:p>
            <a:pPr rtl="0"/>
            <a:r>
              <a:rPr lang="zh-Hans" sz="1200" b="0" i="0" u="none" strike="noStrike">
                <a:highlight>
                  <a:srgbClr val="000000">
                    <a:alpha val="0"/>
                  </a:srgbClr>
                </a:highlight>
                <a:latin typeface="Simsun"/>
                <a:ea typeface="Simsun"/>
              </a:rPr>
              <a:t>未来所有的建议都需要遵守这些原则</a:t>
            </a:r>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18</a:t>
            </a:fld>
            <a:endParaRPr lang="en-US"/>
          </a:p>
        </p:txBody>
      </p:sp>
    </p:spTree>
    <p:extLst>
      <p:ext uri="{BB962C8B-B14F-4D97-AF65-F5344CB8AC3E}">
        <p14:creationId xmlns:p14="http://schemas.microsoft.com/office/powerpoint/2010/main" val="20050962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2077492"/>
          </a:xfrm>
        </p:spPr>
        <p:txBody>
          <a:bodyPr/>
          <a:lstStyle/>
          <a:p>
            <a:pPr rtl="0"/>
            <a:r>
              <a:rPr lang="zh-Hans" sz="1200" b="0" i="0" u="none" strike="noStrike">
                <a:highlight>
                  <a:srgbClr val="000000">
                    <a:alpha val="0"/>
                  </a:srgbClr>
                </a:highlight>
                <a:latin typeface="Simsun"/>
                <a:ea typeface="Simsun"/>
              </a:rPr>
              <a:t>人们还认识到，这不仅可以在卫生系统内完成。卫生突发事件准备有赖于部门间的协调，因为投资、影响和解决方案将来自卫生以外的其他部门，包括</a:t>
            </a:r>
          </a:p>
          <a:p>
            <a:endParaRPr lang="en-US"/>
          </a:p>
          <a:p>
            <a:pPr rtl="0"/>
            <a:r>
              <a:rPr lang="zh-Hans" sz="1200" b="0" i="0" u="none" strike="noStrike">
                <a:highlight>
                  <a:srgbClr val="000000">
                    <a:alpha val="0"/>
                  </a:srgbClr>
                </a:highlight>
                <a:latin typeface="Simsun"/>
                <a:ea typeface="Simsun"/>
              </a:rPr>
              <a:t>同一个健康，包括动物和农业，但也包括其他部门，如...</a:t>
            </a:r>
          </a:p>
          <a:p>
            <a:endParaRPr lang="en-US"/>
          </a:p>
          <a:p>
            <a:pPr rtl="0"/>
            <a:r>
              <a:rPr lang="zh-Hans" sz="1200" b="0" i="0" u="none" strike="noStrike">
                <a:highlight>
                  <a:srgbClr val="000000">
                    <a:alpha val="0"/>
                  </a:srgbClr>
                </a:highlight>
                <a:latin typeface="Simsun"/>
                <a:ea typeface="Simsun"/>
              </a:rPr>
              <a:t>卫生部门需要与这些部门互动，这些部门也需要与卫生部门互动，以便提供全面的突发事件准备和反应</a:t>
            </a:r>
          </a:p>
          <a:p>
            <a:endParaRPr lang="en-US"/>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19</a:t>
            </a:fld>
            <a:endParaRPr lang="en-US"/>
          </a:p>
        </p:txBody>
      </p:sp>
    </p:spTree>
    <p:extLst>
      <p:ext uri="{BB962C8B-B14F-4D97-AF65-F5344CB8AC3E}">
        <p14:creationId xmlns:p14="http://schemas.microsoft.com/office/powerpoint/2010/main" val="879399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4339650"/>
          </a:xfrm>
        </p:spPr>
        <p:txBody>
          <a:bodyPr/>
          <a:lstStyle/>
          <a:p>
            <a:pPr rtl="0"/>
            <a:r>
              <a:rPr lang="zh-Hans" sz="1200" b="0" i="0" u="none" strike="noStrike">
                <a:highlight>
                  <a:srgbClr val="000000">
                    <a:alpha val="0"/>
                  </a:srgbClr>
                </a:highlight>
                <a:latin typeface="Simsun"/>
                <a:ea typeface="Simsun"/>
              </a:rPr>
              <a:t>另一个突出的问题是，从根本上说，卫生突发是按准备和反应不能只停留在国家层面的卫生系统，而需要以初级卫生保健为基础</a:t>
            </a:r>
          </a:p>
          <a:p>
            <a:endParaRPr lang="en-US"/>
          </a:p>
          <a:p>
            <a:pPr rtl="0"/>
            <a:r>
              <a:rPr lang="zh-Hans" sz="1200" b="0" i="0" u="none" strike="noStrike">
                <a:highlight>
                  <a:srgbClr val="000000">
                    <a:alpha val="0"/>
                  </a:srgbClr>
                </a:highlight>
                <a:latin typeface="Simsun"/>
                <a:ea typeface="Simsun"/>
              </a:rPr>
              <a:t>初级卫生保健、卫生促进和卫生安全之间存在大量重叠。例如，当我们谈论NAPHS时，这些必须完全融入这三个领域并考虑到</a:t>
            </a:r>
          </a:p>
          <a:p>
            <a:endParaRPr lang="en-US"/>
          </a:p>
          <a:p>
            <a:pPr marL="342900" indent="-342900" rtl="0">
              <a:spcBef>
                <a:spcPts val="1800"/>
              </a:spcBef>
              <a:buClr>
                <a:schemeClr val="bg1"/>
              </a:buClr>
              <a:buFont typeface="Wingdings" panose="05000000000000000000" pitchFamily="2" charset="2"/>
              <a:buChar char="§"/>
              <a:defRPr/>
            </a:pPr>
            <a:r>
              <a:rPr kumimoji="0" lang="zh-Hans" sz="1100" b="0" i="0" u="none" strike="noStrike" kern="1200" cap="none" spc="0" normalizeH="0" baseline="0" noProof="0">
                <a:solidFill>
                  <a:srgbClr val="FFFFFF"/>
                </a:solidFill>
                <a:highlight>
                  <a:srgbClr val="000000">
                    <a:alpha val="0"/>
                  </a:srgbClr>
                </a:highlight>
                <a:uLnTx/>
                <a:uFillTx/>
                <a:latin typeface="Simsun"/>
                <a:ea typeface="Simsun"/>
                <a:cs typeface="Arial"/>
              </a:rPr>
              <a:t>得到赋能的民众和社区</a:t>
            </a:r>
          </a:p>
          <a:p>
            <a:pPr marL="342900" indent="-342900" rtl="0">
              <a:spcBef>
                <a:spcPts val="1800"/>
              </a:spcBef>
              <a:buClr>
                <a:schemeClr val="bg1"/>
              </a:buClr>
              <a:buFont typeface="Wingdings" panose="05000000000000000000" pitchFamily="2" charset="2"/>
              <a:buChar char="§"/>
              <a:defRPr/>
            </a:pPr>
            <a:r>
              <a:rPr kumimoji="0" lang="zh-Hans" sz="1100" b="0" i="0" u="none" strike="noStrike" kern="1200" cap="none" spc="0" normalizeH="0" baseline="0" noProof="0">
                <a:solidFill>
                  <a:srgbClr val="FFFFFF"/>
                </a:solidFill>
                <a:highlight>
                  <a:srgbClr val="000000">
                    <a:alpha val="0"/>
                  </a:srgbClr>
                </a:highlight>
                <a:uLnTx/>
                <a:uFillTx/>
                <a:latin typeface="Simsun"/>
                <a:ea typeface="Simsun"/>
                <a:cs typeface="Arial"/>
              </a:rPr>
              <a:t>提供综合卫生服务</a:t>
            </a:r>
          </a:p>
          <a:p>
            <a:pPr marL="342900" indent="-342900" rtl="0">
              <a:spcBef>
                <a:spcPts val="1800"/>
              </a:spcBef>
              <a:buClr>
                <a:schemeClr val="bg1"/>
              </a:buClr>
              <a:buFont typeface="Wingdings" panose="05000000000000000000" pitchFamily="2" charset="2"/>
              <a:buChar char="§"/>
              <a:defRPr/>
            </a:pPr>
            <a:r>
              <a:rPr kumimoji="0" lang="zh-Hans" sz="1100" b="0" i="0" u="none" strike="noStrike" kern="1200" cap="none" spc="0" normalizeH="0" baseline="0" noProof="0">
                <a:solidFill>
                  <a:srgbClr val="FFFFFF"/>
                </a:solidFill>
                <a:highlight>
                  <a:srgbClr val="000000">
                    <a:alpha val="0"/>
                  </a:srgbClr>
                </a:highlight>
                <a:uLnTx/>
                <a:uFillTx/>
                <a:latin typeface="Simsun"/>
                <a:ea typeface="Simsun"/>
                <a:cs typeface="Arial"/>
              </a:rPr>
              <a:t>基本公共卫生职能</a:t>
            </a:r>
          </a:p>
          <a:p>
            <a:pPr marL="342900" indent="-342900" rtl="0">
              <a:spcBef>
                <a:spcPts val="1800"/>
              </a:spcBef>
              <a:buClr>
                <a:schemeClr val="bg1"/>
              </a:buClr>
              <a:buFont typeface="Wingdings" panose="05000000000000000000" pitchFamily="2" charset="2"/>
              <a:buChar char="§"/>
              <a:defRPr/>
            </a:pPr>
            <a:r>
              <a:rPr kumimoji="0" lang="zh-Hans" sz="1100" b="0" i="0" u="none" strike="noStrike" kern="1200" cap="none" spc="0" normalizeH="0" baseline="0" noProof="0">
                <a:solidFill>
                  <a:srgbClr val="FFFFFF"/>
                </a:solidFill>
                <a:highlight>
                  <a:srgbClr val="000000">
                    <a:alpha val="0"/>
                  </a:srgbClr>
                </a:highlight>
                <a:uLnTx/>
                <a:uFillTx/>
                <a:latin typeface="Simsun"/>
                <a:ea typeface="Simsun"/>
                <a:cs typeface="Arial"/>
              </a:rPr>
              <a:t>多部门政策和行动</a:t>
            </a:r>
            <a:endParaRPr kumimoji="0" lang="en-US" sz="1050" b="0" i="0" u="none" strike="noStrike" kern="1200" cap="none" spc="0" normalizeH="0" baseline="0" noProof="0">
              <a:ln>
                <a:noFill/>
              </a:ln>
              <a:solidFill>
                <a:schemeClr val="bg1"/>
              </a:solidFill>
              <a:effectLst/>
              <a:uLnTx/>
              <a:uFillTx/>
              <a:latin typeface="Calibri"/>
              <a:ea typeface="+mn-ea"/>
              <a:cs typeface="+mn-cs"/>
            </a:endParaRPr>
          </a:p>
          <a:p>
            <a:endParaRPr lang="en-US"/>
          </a:p>
          <a:p>
            <a:pPr rtl="0"/>
            <a:r>
              <a:rPr lang="zh-Hans" sz="1200" b="0" i="0" u="none" strike="noStrike">
                <a:highlight>
                  <a:srgbClr val="000000">
                    <a:alpha val="0"/>
                  </a:srgbClr>
                </a:highlight>
                <a:latin typeface="Simsun"/>
                <a:ea typeface="Simsun"/>
              </a:rPr>
              <a:t>这并不意味着拥有全民健康保险或强大的卫生系统的国家就有足够的准备来管理卫生突发事件，事实上，新冠肺炎疫情期间一些拥有最强大的卫生系统的国家应对表现最差。因此，应对方式必须三管齐下。</a:t>
            </a:r>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20</a:t>
            </a:fld>
            <a:endParaRPr lang="en-US"/>
          </a:p>
        </p:txBody>
      </p:sp>
    </p:spTree>
    <p:extLst>
      <p:ext uri="{BB962C8B-B14F-4D97-AF65-F5344CB8AC3E}">
        <p14:creationId xmlns:p14="http://schemas.microsoft.com/office/powerpoint/2010/main" val="3337220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2492990"/>
          </a:xfrm>
        </p:spPr>
        <p:txBody>
          <a:bodyPr/>
          <a:lstStyle/>
          <a:p>
            <a:pPr rtl="0"/>
            <a:r>
              <a:rPr lang="zh-Hans" sz="1200" b="0" i="0" u="none" strike="noStrike">
                <a:highlight>
                  <a:srgbClr val="000000">
                    <a:alpha val="0"/>
                  </a:srgbClr>
                </a:highlight>
                <a:latin typeface="Simsun"/>
                <a:ea typeface="Simsun"/>
              </a:rPr>
              <a:t>最后，我们都知道，我们不可能在全球、区域甚至国家层面解决这个问题。</a:t>
            </a:r>
          </a:p>
          <a:p>
            <a:endParaRPr lang="en-US"/>
          </a:p>
          <a:p>
            <a:pPr rtl="0"/>
            <a:r>
              <a:rPr lang="zh-Hans" sz="1200" b="0" i="0" u="none" strike="noStrike">
                <a:highlight>
                  <a:srgbClr val="000000">
                    <a:alpha val="0"/>
                  </a:srgbClr>
                </a:highlight>
                <a:latin typeface="Simsun"/>
                <a:ea typeface="Simsun"/>
              </a:rPr>
              <a:t>我们可以提供更多的指导、服务和支持，但归根结底，所有的卫生突发事件都是在社区层面开始和结束的。</a:t>
            </a:r>
          </a:p>
          <a:p>
            <a:endParaRPr lang="en-US"/>
          </a:p>
          <a:p>
            <a:pPr rtl="0"/>
            <a:r>
              <a:rPr lang="zh-Hans" sz="1200" b="0" i="0" u="none" strike="noStrike">
                <a:highlight>
                  <a:srgbClr val="000000">
                    <a:alpha val="0"/>
                  </a:srgbClr>
                </a:highlight>
                <a:latin typeface="Simsun"/>
                <a:ea typeface="Simsun"/>
              </a:rPr>
              <a:t>因此，我们所做的所有工作都必须认识到这一事实，我们的工作就是通过加强准备、应对和恢复的框架加强社区，强化社区获得国家、区域和全球支持的能力至关重要。</a:t>
            </a:r>
          </a:p>
          <a:p>
            <a:endParaRPr lang="en-US"/>
          </a:p>
          <a:p>
            <a:pPr rtl="0"/>
            <a:r>
              <a:rPr lang="zh-Hans" sz="1200" b="0" i="0" u="none" strike="noStrike">
                <a:highlight>
                  <a:srgbClr val="000000">
                    <a:alpha val="0"/>
                  </a:srgbClr>
                </a:highlight>
                <a:latin typeface="Simsun"/>
                <a:ea typeface="Simsun"/>
              </a:rPr>
              <a:t>因此，地方、国家、区域和全球之间的这种互动</a:t>
            </a:r>
            <a:r>
              <a:rPr kumimoji="0" lang="zh-Hans" sz="1100" b="0" i="0" u="none" strike="noStrike" kern="1200" cap="none" spc="0" normalizeH="0" baseline="0" noProof="0">
                <a:solidFill>
                  <a:srgbClr val="000000"/>
                </a:solidFill>
                <a:highlight>
                  <a:srgbClr val="000000">
                    <a:alpha val="0"/>
                  </a:srgbClr>
                </a:highlight>
                <a:uLnTx/>
                <a:uFillTx/>
                <a:latin typeface="Simsun"/>
                <a:ea typeface="Simsun"/>
                <a:cs typeface="+mn-cs"/>
                <a:sym typeface="+mn-lt"/>
              </a:rPr>
              <a:t>是关键</a:t>
            </a:r>
            <a:endParaRPr lang="en-US"/>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21</a:t>
            </a:fld>
            <a:endParaRPr lang="en-US"/>
          </a:p>
        </p:txBody>
      </p:sp>
    </p:spTree>
    <p:extLst>
      <p:ext uri="{BB962C8B-B14F-4D97-AF65-F5344CB8AC3E}">
        <p14:creationId xmlns:p14="http://schemas.microsoft.com/office/powerpoint/2010/main" val="3373088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6494085"/>
          </a:xfrm>
        </p:spPr>
        <p:txBody>
          <a:bodyPr/>
          <a:lstStyle/>
          <a:p>
            <a:pPr rtl="0"/>
            <a:r>
              <a:rPr lang="zh-Hans" sz="1200" b="0" i="0" u="none" strike="noStrike">
                <a:highlight>
                  <a:srgbClr val="000000">
                    <a:alpha val="0"/>
                  </a:srgbClr>
                </a:highlight>
                <a:latin typeface="Simsun"/>
                <a:ea typeface="Simsun"/>
              </a:rPr>
              <a:t>以此作为背景。</a:t>
            </a:r>
          </a:p>
          <a:p>
            <a:endParaRPr lang="en-US"/>
          </a:p>
          <a:p>
            <a:endParaRPr lang="en-US"/>
          </a:p>
          <a:p>
            <a:pPr rtl="0"/>
            <a:r>
              <a:rPr lang="zh-Hans" sz="1200" b="0" i="0" u="none" strike="noStrike">
                <a:highlight>
                  <a:srgbClr val="000000">
                    <a:alpha val="0"/>
                  </a:srgbClr>
                </a:highlight>
                <a:latin typeface="Simsun"/>
                <a:ea typeface="Simsun"/>
              </a:rPr>
              <a:t>领导力</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有能力召集国家元首一起解决全球卫生突发事件。这一能力目前并不存在</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世卫大会治理: 如E委员会和执行委员会的一个新的常设委员会，向执行委员会并最终向总干事提供关于PHE的政策建议</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我们都知道，IHR的修订存在诸多风险，过程执行起来并不容易，但IHR文本中有一些关键内容需要加强，包括报告遵守和突发事件下应采取行动的相关内容</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问责：全民卫生和准备工作审查（UHPR）是一个正在试行的新工具，其目的是加强相互问责和团结，并对保证所有过程正常发挥作用的独立监测机制进行强化。</a:t>
            </a:r>
          </a:p>
          <a:p>
            <a:pPr marL="0" indent="0">
              <a:buFont typeface="Arial" panose="020B0604020202020204" pitchFamily="34" charset="0"/>
              <a:buNone/>
            </a:pPr>
            <a:endParaRPr lang="en-US"/>
          </a:p>
          <a:p>
            <a:pPr marL="0" indent="0" rtl="0">
              <a:buFont typeface="Arial" panose="020B0604020202020204" pitchFamily="34" charset="0"/>
              <a:buNone/>
            </a:pPr>
            <a:r>
              <a:rPr lang="zh-Hans" sz="1200" b="0" i="0" u="none" strike="noStrike">
                <a:highlight>
                  <a:srgbClr val="000000">
                    <a:alpha val="0"/>
                  </a:srgbClr>
                </a:highlight>
                <a:latin typeface="Simsun"/>
                <a:ea typeface="Simsun"/>
              </a:rPr>
              <a:t>系统：</a:t>
            </a:r>
          </a:p>
          <a:p>
            <a:pPr marL="0" indent="0">
              <a:buFont typeface="Arial" panose="020B0604020202020204" pitchFamily="34" charset="0"/>
              <a:buNone/>
            </a:pPr>
            <a:endParaRPr lang="en-US"/>
          </a:p>
          <a:p>
            <a:pPr marL="0" indent="0" rtl="0">
              <a:buFont typeface="Arial" panose="020B0604020202020204" pitchFamily="34" charset="0"/>
              <a:buNone/>
            </a:pPr>
            <a:r>
              <a:rPr lang="zh-Hans" sz="1200" b="0" i="0" u="none" strike="noStrike">
                <a:highlight>
                  <a:srgbClr val="000000">
                    <a:alpha val="0"/>
                  </a:srgbClr>
                </a:highlight>
                <a:latin typeface="Simsun"/>
                <a:ea typeface="Simsun"/>
              </a:rPr>
              <a:t>支撑这一切的融资是</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正在与G20通力合作，建立一个协调平台，增加用于卫生突发事件准备和应对的国内投资和国际融资</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世卫组织的突发事件应急基金极大地提高了我们快速应对突发情况并在24小时内到达现场的能力，但基金需要吸纳更多的合作伙伴，并尽可能地在国家层面也建立此类基金，以便国家能够快速反应。</a:t>
            </a:r>
          </a:p>
          <a:p>
            <a:pPr marL="171450" indent="-171450" rtl="0">
              <a:buFont typeface="Arial" panose="020B0604020202020204" pitchFamily="34" charset="0"/>
              <a:buChar char="•"/>
            </a:pPr>
            <a:r>
              <a:rPr lang="zh-Hans" sz="1200" b="0" i="0" u="none" strike="noStrike">
                <a:highlight>
                  <a:srgbClr val="000000">
                    <a:alpha val="0"/>
                  </a:srgbClr>
                </a:highlight>
                <a:latin typeface="Simsun"/>
                <a:ea typeface="Simsun"/>
              </a:rPr>
              <a:t>我们还注意到突发事件准备领域存在资金缺口，所以与世界银行建立了一个新的机制——金融中介基金，由世卫组织作担任执行伙伴。该机制已被批准。这些基金可以在最需要的地方启动关键的大流行病准备和应对活动。目前，该基金已有15亿美元注资，而且可能还会增资。除了一次性的注资外，还将有每年的增资。</a:t>
            </a:r>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22</a:t>
            </a:fld>
            <a:endParaRPr lang="en-US"/>
          </a:p>
        </p:txBody>
      </p:sp>
    </p:spTree>
    <p:extLst>
      <p:ext uri="{BB962C8B-B14F-4D97-AF65-F5344CB8AC3E}">
        <p14:creationId xmlns:p14="http://schemas.microsoft.com/office/powerpoint/2010/main" val="1575001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2893100"/>
          </a:xfrm>
        </p:spPr>
        <p:txBody>
          <a:bodyPr/>
          <a:lstStyle/>
          <a:p>
            <a:pPr rtl="0"/>
            <a:r>
              <a:rPr lang="zh-Hans" sz="1200" b="0" i="0" u="none" strike="noStrike">
                <a:highlight>
                  <a:srgbClr val="000000">
                    <a:alpha val="0"/>
                  </a:srgbClr>
                </a:highlight>
                <a:latin typeface="Simsun"/>
                <a:ea typeface="Simsun"/>
              </a:rPr>
              <a:t>我们深入研究了HEPR系统提出的相互关联的核心能力和解决方案，确定了新战略中与IHR的核心能力完全对应的五个基础领域，并具体阐述国家层面所需的努力。</a:t>
            </a:r>
          </a:p>
          <a:p>
            <a:endParaRPr lang="en-US"/>
          </a:p>
          <a:p>
            <a:pPr rtl="0"/>
            <a:r>
              <a:rPr lang="zh-Hans" sz="1200" b="0" i="0" u="none" strike="noStrike">
                <a:highlight>
                  <a:srgbClr val="000000">
                    <a:alpha val="0"/>
                  </a:srgbClr>
                </a:highlight>
                <a:latin typeface="Simsun"/>
                <a:ea typeface="Simsun"/>
              </a:rPr>
              <a:t>协作监督</a:t>
            </a:r>
          </a:p>
          <a:p>
            <a:pPr rtl="0"/>
            <a:r>
              <a:rPr lang="zh-Hans" sz="1200" b="0" i="0" u="none" strike="noStrike">
                <a:highlight>
                  <a:srgbClr val="000000">
                    <a:alpha val="0"/>
                  </a:srgbClr>
                </a:highlight>
                <a:latin typeface="Simsun"/>
                <a:ea typeface="Simsun"/>
              </a:rPr>
              <a:t>环境</a:t>
            </a:r>
          </a:p>
          <a:p>
            <a:pPr rtl="0"/>
            <a:r>
              <a:rPr lang="zh-Hans" sz="1200" b="0" i="0" u="none" strike="noStrike">
                <a:highlight>
                  <a:srgbClr val="000000">
                    <a:alpha val="0"/>
                  </a:srgbClr>
                </a:highlight>
                <a:latin typeface="Simsun"/>
                <a:ea typeface="Simsun"/>
              </a:rPr>
              <a:t>初级卫生保健</a:t>
            </a:r>
          </a:p>
          <a:p>
            <a:pPr rtl="0"/>
            <a:r>
              <a:rPr lang="zh-Hans" sz="1200" b="0" i="0" u="none" strike="noStrike">
                <a:highlight>
                  <a:srgbClr val="000000">
                    <a:alpha val="0"/>
                  </a:srgbClr>
                </a:highlight>
                <a:latin typeface="Simsun"/>
                <a:ea typeface="Simsun"/>
              </a:rPr>
              <a:t>获得应对措施（应对新冠肺炎疫情应对的经验）</a:t>
            </a:r>
          </a:p>
          <a:p>
            <a:endParaRPr lang="en-US"/>
          </a:p>
          <a:p>
            <a:pPr rtl="0"/>
            <a:r>
              <a:rPr lang="zh-Hans" sz="1200" b="0" i="0" u="none" strike="noStrike">
                <a:highlight>
                  <a:srgbClr val="000000">
                    <a:alpha val="0"/>
                  </a:srgbClr>
                </a:highlight>
                <a:latin typeface="Simsun"/>
                <a:ea typeface="Simsun"/>
              </a:rPr>
              <a:t>支持</a:t>
            </a:r>
          </a:p>
          <a:p>
            <a:pPr rtl="0"/>
            <a:r>
              <a:rPr lang="zh-Hans" sz="1200" b="0" i="0" u="none" strike="noStrike">
                <a:highlight>
                  <a:srgbClr val="000000">
                    <a:alpha val="0"/>
                  </a:srgbClr>
                </a:highlight>
                <a:latin typeface="Simsun"/>
                <a:ea typeface="Simsun"/>
              </a:rPr>
              <a:t>突发事件应对协调</a:t>
            </a:r>
          </a:p>
          <a:p>
            <a:endParaRPr lang="en-US"/>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23</a:t>
            </a:fld>
            <a:endParaRPr lang="en-US"/>
          </a:p>
        </p:txBody>
      </p:sp>
    </p:spTree>
    <p:extLst>
      <p:ext uri="{BB962C8B-B14F-4D97-AF65-F5344CB8AC3E}">
        <p14:creationId xmlns:p14="http://schemas.microsoft.com/office/powerpoint/2010/main" val="39952171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677108"/>
          </a:xfrm>
        </p:spPr>
        <p:txBody>
          <a:bodyPr/>
          <a:lstStyle/>
          <a:p>
            <a:pPr rtl="0"/>
            <a:r>
              <a:rPr lang="zh-Hans" sz="1200" b="0" i="0" u="none" strike="noStrike">
                <a:highlight>
                  <a:srgbClr val="000000">
                    <a:alpha val="0"/>
                  </a:srgbClr>
                </a:highlight>
                <a:latin typeface="Simsun"/>
                <a:ea typeface="Simsun"/>
              </a:rPr>
              <a:t>所有这些都需要一种从地方到国家、区域和全球层面的层层递进的工作方式，而且还要跨越突发事件应对周期，以便我们能通过地方、国家、区域和全球层面的资源和服务实现无缝互动和支持。</a:t>
            </a:r>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24</a:t>
            </a:fld>
            <a:endParaRPr lang="en-US"/>
          </a:p>
        </p:txBody>
      </p:sp>
    </p:spTree>
    <p:extLst>
      <p:ext uri="{BB962C8B-B14F-4D97-AF65-F5344CB8AC3E}">
        <p14:creationId xmlns:p14="http://schemas.microsoft.com/office/powerpoint/2010/main" val="9585317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1831271"/>
          </a:xfrm>
        </p:spPr>
        <p:txBody>
          <a:bodyPr/>
          <a:lstStyle/>
          <a:p>
            <a:pPr rtl="0"/>
            <a:r>
              <a:rPr lang="zh-Hans" sz="1200" b="0" i="0" u="none" strike="noStrike">
                <a:highlight>
                  <a:srgbClr val="000000">
                    <a:alpha val="0"/>
                  </a:srgbClr>
                </a:highlight>
                <a:latin typeface="Simsun"/>
                <a:ea typeface="Simsun"/>
              </a:rPr>
              <a:t>所以这一切都很好!</a:t>
            </a:r>
          </a:p>
          <a:p>
            <a:pPr rtl="0"/>
            <a:r>
              <a:rPr lang="zh-Hans" sz="1200" b="0" i="0" u="none" strike="noStrike">
                <a:highlight>
                  <a:srgbClr val="000000">
                    <a:alpha val="0"/>
                  </a:srgbClr>
                </a:highlight>
                <a:latin typeface="Simsun"/>
                <a:ea typeface="Simsun"/>
              </a:rPr>
              <a:t>但是，需要结合运营、技术和资金能力，以确保我们能以一致和协作的方式为社区服务。</a:t>
            </a:r>
          </a:p>
          <a:p>
            <a:pPr rtl="0"/>
            <a:r>
              <a:rPr lang="zh-Hans" sz="1200" b="0" i="0" u="none" strike="noStrike">
                <a:highlight>
                  <a:srgbClr val="000000">
                    <a:alpha val="0"/>
                  </a:srgbClr>
                </a:highlight>
                <a:latin typeface="Simsun"/>
                <a:ea typeface="Simsun"/>
              </a:rPr>
              <a:t>这一领域有很多技术和金融合作伙伴，他们都必须联合起来，协调一致地开展工作。</a:t>
            </a:r>
          </a:p>
          <a:p>
            <a:endParaRPr lang="en-US"/>
          </a:p>
          <a:p>
            <a:pPr rtl="0"/>
            <a:r>
              <a:rPr lang="zh-Hans" sz="1200" b="0" i="0" u="none" strike="noStrike">
                <a:highlight>
                  <a:srgbClr val="000000">
                    <a:alpha val="0"/>
                  </a:srgbClr>
                </a:highlight>
                <a:latin typeface="Simsun"/>
                <a:ea typeface="Simsun"/>
              </a:rPr>
              <a:t>NAPHS有助于这样的协调。关键问题是，我们如何将这些重要的合作伙伴聚集在一起，在HEPR的框架下实施各国的优先事项</a:t>
            </a:r>
          </a:p>
        </p:txBody>
      </p:sp>
      <p:sp>
        <p:nvSpPr>
          <p:cNvPr id="4" name="Date Placeholder 3"/>
          <p:cNvSpPr>
            <a:spLocks noGrp="1"/>
          </p:cNvSpPr>
          <p:nvPr>
            <p:ph type="dt" idx="10"/>
          </p:nvPr>
        </p:nvSpPr>
        <p:spPr/>
        <p:txBody>
          <a:bodyPr/>
          <a:lstStyle/>
          <a:p>
            <a:fld id="{1DF34805-1F01-4BDA-A8CA-FCEA2B4BC8D0}" type="datetime3">
              <a:rPr lang="en-US" smtClean="0"/>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t>25</a:t>
            </a:fld>
            <a:endParaRPr lang="en-US"/>
          </a:p>
        </p:txBody>
      </p:sp>
    </p:spTree>
    <p:extLst>
      <p:ext uri="{BB962C8B-B14F-4D97-AF65-F5344CB8AC3E}">
        <p14:creationId xmlns:p14="http://schemas.microsoft.com/office/powerpoint/2010/main" val="2069061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目前正在对提交的数据和意见进行深入分析。分析结果与区域IHRNFPs共享，并用于辅助区域、次区域和国家层面的活动和进程。</a:t>
            </a:r>
          </a:p>
        </p:txBody>
      </p:sp>
      <p:sp>
        <p:nvSpPr>
          <p:cNvPr id="4" name="Slide Number Placeholder 3"/>
          <p:cNvSpPr>
            <a:spLocks noGrp="1"/>
          </p:cNvSpPr>
          <p:nvPr>
            <p:ph type="sldNum" sz="quarter" idx="5"/>
          </p:nvPr>
        </p:nvSpPr>
        <p:spPr/>
        <p:txBody>
          <a:bodyPr/>
          <a:lstStyle/>
          <a:p>
            <a:fld id="{2385B747-18E9-E746-A276-B387773C2AC8}" type="slidenum">
              <a:rPr lang="en-US" smtClean="0"/>
              <a:t>4</a:t>
            </a:fld>
            <a:endParaRPr lang="en-US"/>
          </a:p>
        </p:txBody>
      </p:sp>
    </p:spTree>
    <p:extLst>
      <p:ext uri="{BB962C8B-B14F-4D97-AF65-F5344CB8AC3E}">
        <p14:creationId xmlns:p14="http://schemas.microsoft.com/office/powerpoint/2010/main" val="1315213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5B747-18E9-E746-A276-B387773C2AC8}" type="slidenum">
              <a:rPr lang="en-US" smtClean="0"/>
              <a:t>7</a:t>
            </a:fld>
            <a:endParaRPr lang="en-US"/>
          </a:p>
        </p:txBody>
      </p:sp>
    </p:spTree>
    <p:extLst>
      <p:ext uri="{BB962C8B-B14F-4D97-AF65-F5344CB8AC3E}">
        <p14:creationId xmlns:p14="http://schemas.microsoft.com/office/powerpoint/2010/main" val="1292497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Hans" sz="1200" b="0" i="0" u="none" strike="noStrike" baseline="0">
                <a:highlight>
                  <a:srgbClr val="000000">
                    <a:alpha val="0"/>
                  </a:srgbClr>
                </a:highlight>
                <a:latin typeface="Simsun"/>
                <a:ea typeface="Simsun"/>
              </a:rPr>
              <a:t>NAPHS得到了广泛的采纳。75个成员国制定了NAPHS以动员高层的政治承诺和资源来推动实施工作。尽管一些成员国已经形成了实施的势头，但国家一级的实施人员却面临以下挑战。</a:t>
            </a:r>
            <a:endParaRPr lang="en-US"/>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从规划到实施的间隔期： 平均而言，成员国需要420天的时间才能在JEE基础上制定出NAPHS。</a:t>
            </a:r>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计划不切实际和质量低劣： 计划在资源分配、时间表和问责方面缺乏明确性</a:t>
            </a:r>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未充分考虑从实际实施中吸取的教训：系统表现的衡量标准，如建议</a:t>
            </a:r>
          </a:p>
          <a:p>
            <a:pPr algn="l" rtl="0"/>
            <a:r>
              <a:rPr lang="zh-Hans" sz="1200" b="0" i="0" u="none" strike="noStrike" baseline="0">
                <a:highlight>
                  <a:srgbClr val="000000">
                    <a:alpha val="0"/>
                  </a:srgbClr>
                </a:highlight>
                <a:latin typeface="Simsun"/>
                <a:ea typeface="Simsun"/>
              </a:rPr>
              <a:t> "事后评估 "提出的建议没有被例行地用于调整NAPHS中的规划和资源分配政策</a:t>
            </a:r>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监测、问责和后续行动有限：计划制定往往是一次性的，后续行动不存在或非常有限，所以计划是静态的，而非动态调整的。</a:t>
            </a:r>
            <a:endParaRPr lang="en-US" sz="1200" b="0" i="0" u="none" strike="noStrike" baseline="0">
              <a:latin typeface="ProximaNova-Regular"/>
            </a:endParaRPr>
          </a:p>
          <a:p>
            <a:pPr algn="l"/>
            <a:endParaRPr lang="en-US" sz="1200" b="0" i="0" u="none" strike="noStrike" baseline="0">
              <a:latin typeface="ProximaNova-Regular"/>
            </a:endParaRPr>
          </a:p>
          <a:p>
            <a:pPr algn="l" rtl="0"/>
            <a:r>
              <a:rPr lang="zh-Hans" sz="1200" b="0" i="0" u="none" strike="noStrike">
                <a:highlight>
                  <a:srgbClr val="000000">
                    <a:alpha val="0"/>
                  </a:srgbClr>
                </a:highlight>
                <a:latin typeface="Simsun"/>
                <a:ea typeface="Simsun"/>
              </a:rPr>
              <a:t>鉴于此，从2021年11月</a:t>
            </a:r>
            <a:r>
              <a:rPr lang="zh-Hans" sz="1200" b="0" i="0" u="none" strike="noStrike" baseline="0">
                <a:highlight>
                  <a:srgbClr val="000000">
                    <a:alpha val="0"/>
                  </a:srgbClr>
                </a:highlight>
                <a:latin typeface="Simsun"/>
                <a:ea typeface="Simsun"/>
              </a:rPr>
              <a:t>起</a:t>
            </a:r>
            <a:r>
              <a:rPr lang="zh-Hans" sz="1200" b="0" i="0" u="none" strike="noStrike">
                <a:highlight>
                  <a:srgbClr val="000000">
                    <a:alpha val="0"/>
                  </a:srgbClr>
                </a:highlight>
                <a:latin typeface="Simsun"/>
                <a:ea typeface="Simsun"/>
              </a:rPr>
              <a:t>，世卫组织与各地区一起制定了一项新的五年期NAPHS战略，以支持成员国加快NAPHS的制定、实施和监测。进一步收集了来自技术模式和外部利益相关者的意见和经验来指导战略制定。</a:t>
            </a:r>
          </a:p>
          <a:p>
            <a:endParaRPr lang="en-FI"/>
          </a:p>
        </p:txBody>
      </p:sp>
      <p:sp>
        <p:nvSpPr>
          <p:cNvPr id="4" name="Slide Number Placeholder 3"/>
          <p:cNvSpPr>
            <a:spLocks noGrp="1"/>
          </p:cNvSpPr>
          <p:nvPr>
            <p:ph type="sldNum" sz="quarter" idx="5"/>
          </p:nvPr>
        </p:nvSpPr>
        <p:spPr/>
        <p:txBody>
          <a:bodyPr/>
          <a:lstStyle/>
          <a:p>
            <a:fld id="{2385B747-18E9-E746-A276-B387773C2AC8}" type="slidenum">
              <a:rPr lang="en-US" smtClean="0"/>
              <a:t>8</a:t>
            </a:fld>
            <a:endParaRPr lang="en-US"/>
          </a:p>
        </p:txBody>
      </p:sp>
    </p:spTree>
    <p:extLst>
      <p:ext uri="{BB962C8B-B14F-4D97-AF65-F5344CB8AC3E}">
        <p14:creationId xmlns:p14="http://schemas.microsoft.com/office/powerpoint/2010/main" val="1064515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Hans" sz="1800" b="0" i="0" u="none" strike="noStrike" baseline="0">
                <a:highlight>
                  <a:srgbClr val="000000">
                    <a:alpha val="0"/>
                  </a:srgbClr>
                </a:highlight>
                <a:latin typeface="Simsun"/>
                <a:ea typeface="Simsun"/>
              </a:rPr>
              <a:t>NAPHS得到了广泛的采纳。75个成员国制定了NAPHS以动员高层的政治承诺和资源来推动实施工作。尽管一些成员国已经形成了实施的势头，但国家一级的实施人员却面临以下挑战。</a:t>
            </a:r>
            <a:endParaRPr lang="en-US"/>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从规划到实施的间隔期： </a:t>
            </a:r>
            <a:r>
              <a:rPr lang="zh-Hans" sz="1800" b="0" i="0" u="none" strike="noStrike" baseline="0">
                <a:highlight>
                  <a:srgbClr val="000000">
                    <a:alpha val="0"/>
                  </a:srgbClr>
                </a:highlight>
                <a:latin typeface="Simsun"/>
                <a:ea typeface="Simsun"/>
              </a:rPr>
              <a:t>平均而言，成员国需要420天的时间才能在JEE基础上制定出NAPHS。</a:t>
            </a:r>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计划不切实际和质量低劣： </a:t>
            </a:r>
            <a:r>
              <a:rPr lang="zh-Hans" sz="1800" b="0" i="0" u="none" strike="noStrike" baseline="0">
                <a:highlight>
                  <a:srgbClr val="000000">
                    <a:alpha val="0"/>
                  </a:srgbClr>
                </a:highlight>
                <a:latin typeface="Simsun"/>
                <a:ea typeface="Simsun"/>
              </a:rPr>
              <a:t>计划在资源分配、时间表和问责方面缺乏明确性</a:t>
            </a:r>
          </a:p>
          <a:p>
            <a:pPr marL="285750" indent="-285750" algn="l" rtl="0">
              <a:buFont typeface="Arial" panose="020B0604020202020204" pitchFamily="34" charset="0"/>
              <a:buChar char="•"/>
            </a:pPr>
            <a:r>
              <a:rPr lang="zh-Hans" sz="1800" b="0" i="0" u="none" strike="noStrike" baseline="0">
                <a:highlight>
                  <a:srgbClr val="000000">
                    <a:alpha val="0"/>
                  </a:srgbClr>
                </a:highlight>
                <a:latin typeface="Simsun"/>
                <a:ea typeface="Simsun"/>
              </a:rPr>
              <a:t>未充分考虑从实际实施中吸取的教训</a:t>
            </a:r>
            <a:r>
              <a:rPr lang="zh-Hans" sz="1200" b="0" i="0" u="none" strike="noStrike" baseline="0">
                <a:highlight>
                  <a:srgbClr val="000000">
                    <a:alpha val="0"/>
                  </a:srgbClr>
                </a:highlight>
                <a:latin typeface="Simsun"/>
                <a:ea typeface="Simsun"/>
              </a:rPr>
              <a:t>：系统表现的衡量标准，如建议</a:t>
            </a:r>
          </a:p>
          <a:p>
            <a:pPr algn="l" rtl="0"/>
            <a:r>
              <a:rPr lang="zh-Hans" sz="1800" b="0" i="0" u="none" strike="noStrike" baseline="0">
                <a:highlight>
                  <a:srgbClr val="000000">
                    <a:alpha val="0"/>
                  </a:srgbClr>
                </a:highlight>
                <a:latin typeface="Simsun"/>
                <a:ea typeface="Simsun"/>
              </a:rPr>
              <a:t> "事后评估 "提出的建议没有被例行地用于调整NAPHS中的规划和资源分配政策</a:t>
            </a:r>
          </a:p>
          <a:p>
            <a:pPr marL="285750" indent="-285750" algn="l" rtl="0">
              <a:buFont typeface="Arial" panose="020B0604020202020204" pitchFamily="34" charset="0"/>
              <a:buChar char="•"/>
            </a:pPr>
            <a:r>
              <a:rPr lang="zh-Hans" sz="1800" b="0" i="0" u="none" strike="noStrike" baseline="0">
                <a:highlight>
                  <a:srgbClr val="000000">
                    <a:alpha val="0"/>
                  </a:srgbClr>
                </a:highlight>
                <a:latin typeface="Simsun"/>
                <a:ea typeface="Simsun"/>
              </a:rPr>
              <a:t>监测、问责和后续行动有限：计划制定往往是一次性的，后续行动不存在或非常有限，所以计划是静态的，而非动态调整的。</a:t>
            </a:r>
            <a:endParaRPr lang="en-US" sz="1800" b="0" i="0" u="none" strike="noStrike" baseline="0">
              <a:latin typeface="ProximaNova-Regular"/>
            </a:endParaRPr>
          </a:p>
          <a:p>
            <a:pPr algn="l"/>
            <a:endParaRPr lang="en-US" sz="1800" b="0" i="0" u="none" strike="noStrike" baseline="0">
              <a:latin typeface="ProximaNova-Regular"/>
            </a:endParaRPr>
          </a:p>
          <a:p>
            <a:pPr algn="l" rtl="0"/>
            <a:r>
              <a:rPr lang="zh-Hans" sz="1200" b="0" i="0" u="none" strike="noStrike">
                <a:highlight>
                  <a:srgbClr val="000000">
                    <a:alpha val="0"/>
                  </a:srgbClr>
                </a:highlight>
                <a:latin typeface="Simsun"/>
                <a:ea typeface="Simsun"/>
              </a:rPr>
              <a:t>鉴于此，从2021年11月</a:t>
            </a:r>
            <a:r>
              <a:rPr lang="zh-Hans" sz="1200" b="0" i="0" u="none" strike="noStrike" baseline="0">
                <a:highlight>
                  <a:srgbClr val="000000">
                    <a:alpha val="0"/>
                  </a:srgbClr>
                </a:highlight>
                <a:latin typeface="Simsun"/>
                <a:ea typeface="Simsun"/>
              </a:rPr>
              <a:t>起</a:t>
            </a:r>
            <a:r>
              <a:rPr lang="zh-Hans" sz="1200" b="0" i="0" u="none" strike="noStrike">
                <a:highlight>
                  <a:srgbClr val="000000">
                    <a:alpha val="0"/>
                  </a:srgbClr>
                </a:highlight>
                <a:latin typeface="Simsun"/>
                <a:ea typeface="Simsun"/>
              </a:rPr>
              <a:t>，世卫组织与各地区一起制定了一项新的五年期NAPHS战略，以支持成员国加快NAPHS的制定、实施和监测。进一步收集了来自技术模式和外部利益相关者的意见和经验来指导战略制定。</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8B15AEE1-C739-47CE-BF6D-80F737A14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0819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Hans" sz="1800" b="0" i="0" u="none" strike="noStrike" baseline="0">
                <a:highlight>
                  <a:srgbClr val="000000">
                    <a:alpha val="0"/>
                  </a:srgbClr>
                </a:highlight>
                <a:latin typeface="Simsun"/>
                <a:ea typeface="Simsun"/>
              </a:rPr>
              <a:t>NAPHS得到了广泛的采纳。75个成员国制定了NAPHS以动员高层的政治承诺和资源来推动实施工作。尽管一些成员国已经形成了实施的势头，但国家一级的实施人员却面临以下挑战。</a:t>
            </a:r>
            <a:endParaRPr lang="en-US"/>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从规划到实施的间隔期： </a:t>
            </a:r>
            <a:r>
              <a:rPr lang="zh-Hans" sz="1800" b="0" i="0" u="none" strike="noStrike" baseline="0">
                <a:highlight>
                  <a:srgbClr val="000000">
                    <a:alpha val="0"/>
                  </a:srgbClr>
                </a:highlight>
                <a:latin typeface="Simsun"/>
                <a:ea typeface="Simsun"/>
              </a:rPr>
              <a:t>平均而言，成员国需要420天的时间才能在JEE基础上制定出NAPHS。</a:t>
            </a:r>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计划不切实际和质量低劣： </a:t>
            </a:r>
            <a:r>
              <a:rPr lang="zh-Hans" sz="1800" b="0" i="0" u="none" strike="noStrike" baseline="0">
                <a:highlight>
                  <a:srgbClr val="000000">
                    <a:alpha val="0"/>
                  </a:srgbClr>
                </a:highlight>
                <a:latin typeface="Simsun"/>
                <a:ea typeface="Simsun"/>
              </a:rPr>
              <a:t>计划在资源分配、时间表和问责方面缺乏明确性</a:t>
            </a:r>
          </a:p>
          <a:p>
            <a:pPr marL="285750" indent="-285750" algn="l" rtl="0">
              <a:buFont typeface="Arial" panose="020B0604020202020204" pitchFamily="34" charset="0"/>
              <a:buChar char="•"/>
            </a:pPr>
            <a:r>
              <a:rPr lang="zh-Hans" sz="1800" b="0" i="0" u="none" strike="noStrike" baseline="0">
                <a:highlight>
                  <a:srgbClr val="000000">
                    <a:alpha val="0"/>
                  </a:srgbClr>
                </a:highlight>
                <a:latin typeface="Simsun"/>
                <a:ea typeface="Simsun"/>
              </a:rPr>
              <a:t>未充分考虑从实际实施中吸取的教训</a:t>
            </a:r>
            <a:r>
              <a:rPr lang="zh-Hans" sz="1200" b="0" i="0" u="none" strike="noStrike" baseline="0">
                <a:highlight>
                  <a:srgbClr val="000000">
                    <a:alpha val="0"/>
                  </a:srgbClr>
                </a:highlight>
                <a:latin typeface="Simsun"/>
                <a:ea typeface="Simsun"/>
              </a:rPr>
              <a:t>：系统表现的衡量标准，如建议</a:t>
            </a:r>
          </a:p>
          <a:p>
            <a:pPr algn="l" rtl="0"/>
            <a:r>
              <a:rPr lang="zh-Hans" sz="1800" b="0" i="0" u="none" strike="noStrike" baseline="0">
                <a:highlight>
                  <a:srgbClr val="000000">
                    <a:alpha val="0"/>
                  </a:srgbClr>
                </a:highlight>
                <a:latin typeface="Simsun"/>
                <a:ea typeface="Simsun"/>
              </a:rPr>
              <a:t> "事后评估 "提出的建议没有被例行地用于调整NAPHS中的规划和资源分配政策</a:t>
            </a:r>
          </a:p>
          <a:p>
            <a:pPr marL="285750" indent="-285750" algn="l" rtl="0">
              <a:buFont typeface="Arial" panose="020B0604020202020204" pitchFamily="34" charset="0"/>
              <a:buChar char="•"/>
            </a:pPr>
            <a:r>
              <a:rPr lang="zh-Hans" sz="1800" b="0" i="0" u="none" strike="noStrike" baseline="0">
                <a:highlight>
                  <a:srgbClr val="000000">
                    <a:alpha val="0"/>
                  </a:srgbClr>
                </a:highlight>
                <a:latin typeface="Simsun"/>
                <a:ea typeface="Simsun"/>
              </a:rPr>
              <a:t>监测、问责和后续行动有限：计划制定往往是一次性的，后续行动不存在或非常有限，所以计划是静态的，而非动态调整的。</a:t>
            </a:r>
            <a:endParaRPr lang="en-US" sz="1800" b="0" i="0" u="none" strike="noStrike" baseline="0">
              <a:latin typeface="ProximaNova-Regular"/>
            </a:endParaRPr>
          </a:p>
          <a:p>
            <a:pPr algn="l"/>
            <a:endParaRPr lang="en-US" sz="1800" b="0" i="0" u="none" strike="noStrike" baseline="0">
              <a:latin typeface="ProximaNova-Regular"/>
            </a:endParaRPr>
          </a:p>
          <a:p>
            <a:pPr algn="l" rtl="0"/>
            <a:r>
              <a:rPr lang="zh-Hans" sz="1200" b="0" i="0" u="none" strike="noStrike">
                <a:highlight>
                  <a:srgbClr val="000000">
                    <a:alpha val="0"/>
                  </a:srgbClr>
                </a:highlight>
                <a:latin typeface="Simsun"/>
                <a:ea typeface="Simsun"/>
              </a:rPr>
              <a:t>鉴于此，从2021年11月</a:t>
            </a:r>
            <a:r>
              <a:rPr lang="zh-Hans" sz="1200" b="0" i="0" u="none" strike="noStrike" baseline="0">
                <a:highlight>
                  <a:srgbClr val="000000">
                    <a:alpha val="0"/>
                  </a:srgbClr>
                </a:highlight>
                <a:latin typeface="Simsun"/>
                <a:ea typeface="Simsun"/>
              </a:rPr>
              <a:t>起</a:t>
            </a:r>
            <a:r>
              <a:rPr lang="zh-Hans" sz="1200" b="0" i="0" u="none" strike="noStrike">
                <a:highlight>
                  <a:srgbClr val="000000">
                    <a:alpha val="0"/>
                  </a:srgbClr>
                </a:highlight>
                <a:latin typeface="Simsun"/>
                <a:ea typeface="Simsun"/>
              </a:rPr>
              <a:t>，世卫组织与各地区一起制定了一项新的五年期NAPHS战略，以支持成员国加快NAPHS的制定、实施和监测。进一步收集了来自技术模式和外部利益相关者的意见和经验来指导战略制定。</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8B15AEE1-C739-47CE-BF6D-80F737A14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78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Hans" sz="1800" b="0" i="0" u="none" strike="noStrike" baseline="0">
                <a:highlight>
                  <a:srgbClr val="000000">
                    <a:alpha val="0"/>
                  </a:srgbClr>
                </a:highlight>
                <a:latin typeface="Simsun"/>
                <a:ea typeface="Simsun"/>
              </a:rPr>
              <a:t>NAPHS得到了广泛的采纳。75个成员国制定了NAPHS以动员高层的政治承诺和资源来推动实施工作。尽管一些成员国已经形成了实施的势头，但国家一级的实施人员却面临以下挑战。</a:t>
            </a:r>
            <a:endParaRPr lang="en-US"/>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从规划到实施的间隔期： </a:t>
            </a:r>
            <a:r>
              <a:rPr lang="zh-Hans" sz="1800" b="0" i="0" u="none" strike="noStrike" baseline="0">
                <a:highlight>
                  <a:srgbClr val="000000">
                    <a:alpha val="0"/>
                  </a:srgbClr>
                </a:highlight>
                <a:latin typeface="Simsun"/>
                <a:ea typeface="Simsun"/>
              </a:rPr>
              <a:t>平均而言，成员国需要420天的时间才能在JEE基础上制定出NAPHS。</a:t>
            </a:r>
          </a:p>
          <a:p>
            <a:pPr marL="285750" indent="-285750" algn="l" rtl="0">
              <a:buFont typeface="Arial" panose="020B0604020202020204" pitchFamily="34" charset="0"/>
              <a:buChar char="•"/>
            </a:pPr>
            <a:r>
              <a:rPr lang="zh-Hans" sz="1200" b="0" i="0" u="none" strike="noStrike" baseline="0">
                <a:highlight>
                  <a:srgbClr val="000000">
                    <a:alpha val="0"/>
                  </a:srgbClr>
                </a:highlight>
                <a:latin typeface="Simsun"/>
                <a:ea typeface="Simsun"/>
              </a:rPr>
              <a:t>计划不切实际和质量低劣： </a:t>
            </a:r>
            <a:r>
              <a:rPr lang="zh-Hans" sz="1800" b="0" i="0" u="none" strike="noStrike" baseline="0">
                <a:highlight>
                  <a:srgbClr val="000000">
                    <a:alpha val="0"/>
                  </a:srgbClr>
                </a:highlight>
                <a:latin typeface="Simsun"/>
                <a:ea typeface="Simsun"/>
              </a:rPr>
              <a:t>计划在资源分配、时间表和问责方面缺乏明确性</a:t>
            </a:r>
          </a:p>
          <a:p>
            <a:pPr marL="285750" indent="-285750" algn="l" rtl="0">
              <a:buFont typeface="Arial" panose="020B0604020202020204" pitchFamily="34" charset="0"/>
              <a:buChar char="•"/>
            </a:pPr>
            <a:r>
              <a:rPr lang="zh-Hans" sz="1800" b="0" i="0" u="none" strike="noStrike" baseline="0">
                <a:highlight>
                  <a:srgbClr val="000000">
                    <a:alpha val="0"/>
                  </a:srgbClr>
                </a:highlight>
                <a:latin typeface="Simsun"/>
                <a:ea typeface="Simsun"/>
              </a:rPr>
              <a:t>未充分考虑从实际实施中吸取的教训</a:t>
            </a:r>
            <a:r>
              <a:rPr lang="zh-Hans" sz="1200" b="0" i="0" u="none" strike="noStrike" baseline="0">
                <a:highlight>
                  <a:srgbClr val="000000">
                    <a:alpha val="0"/>
                  </a:srgbClr>
                </a:highlight>
                <a:latin typeface="Simsun"/>
                <a:ea typeface="Simsun"/>
              </a:rPr>
              <a:t>：系统表现的衡量标准，如建议</a:t>
            </a:r>
          </a:p>
          <a:p>
            <a:pPr algn="l" rtl="0"/>
            <a:r>
              <a:rPr lang="zh-Hans" sz="1800" b="0" i="0" u="none" strike="noStrike" baseline="0">
                <a:highlight>
                  <a:srgbClr val="000000">
                    <a:alpha val="0"/>
                  </a:srgbClr>
                </a:highlight>
                <a:latin typeface="Simsun"/>
                <a:ea typeface="Simsun"/>
              </a:rPr>
              <a:t> "事后评估 "提出的建议没有被例行地用于调整NAPHS中的规划和资源分配政策</a:t>
            </a:r>
          </a:p>
          <a:p>
            <a:pPr marL="285750" indent="-285750" algn="l" rtl="0">
              <a:buFont typeface="Arial" panose="020B0604020202020204" pitchFamily="34" charset="0"/>
              <a:buChar char="•"/>
            </a:pPr>
            <a:r>
              <a:rPr lang="zh-Hans" sz="1800" b="0" i="0" u="none" strike="noStrike" baseline="0">
                <a:highlight>
                  <a:srgbClr val="000000">
                    <a:alpha val="0"/>
                  </a:srgbClr>
                </a:highlight>
                <a:latin typeface="Simsun"/>
                <a:ea typeface="Simsun"/>
              </a:rPr>
              <a:t>监测、问责和后续行动有限：计划制定往往是一次性的，后续行动不存在或非常有限，所以计划是静态的，而非动态调整的。</a:t>
            </a:r>
            <a:endParaRPr lang="en-US" sz="1800" b="0" i="0" u="none" strike="noStrike" baseline="0">
              <a:latin typeface="ProximaNova-Regular"/>
            </a:endParaRPr>
          </a:p>
          <a:p>
            <a:pPr algn="l"/>
            <a:endParaRPr lang="en-US" sz="1800" b="0" i="0" u="none" strike="noStrike" baseline="0">
              <a:latin typeface="ProximaNova-Regular"/>
            </a:endParaRPr>
          </a:p>
          <a:p>
            <a:pPr algn="l" rtl="0"/>
            <a:r>
              <a:rPr lang="zh-Hans" sz="1200" b="0" i="0" u="none" strike="noStrike">
                <a:highlight>
                  <a:srgbClr val="000000">
                    <a:alpha val="0"/>
                  </a:srgbClr>
                </a:highlight>
                <a:latin typeface="Simsun"/>
                <a:ea typeface="Simsun"/>
              </a:rPr>
              <a:t>鉴于此，从2021年11月</a:t>
            </a:r>
            <a:r>
              <a:rPr lang="zh-Hans" sz="1200" b="0" i="0" u="none" strike="noStrike" baseline="0">
                <a:highlight>
                  <a:srgbClr val="000000">
                    <a:alpha val="0"/>
                  </a:srgbClr>
                </a:highlight>
                <a:latin typeface="Simsun"/>
                <a:ea typeface="Simsun"/>
              </a:rPr>
              <a:t>起</a:t>
            </a:r>
            <a:r>
              <a:rPr lang="zh-Hans" sz="1200" b="0" i="0" u="none" strike="noStrike">
                <a:highlight>
                  <a:srgbClr val="000000">
                    <a:alpha val="0"/>
                  </a:srgbClr>
                </a:highlight>
                <a:latin typeface="Simsun"/>
                <a:ea typeface="Simsun"/>
              </a:rPr>
              <a:t>，世卫组织与各地区一起制定了一项新的五年期NAPHS战略，以支持成员国加快NAPHS的制定、实施和监测。进一步收集了来自技术模式和外部利益相关者的意见和经验来指导战略制定。</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8B15AEE1-C739-47CE-BF6D-80F737A14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781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跨部门计划（超出卫生范畴）</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C9B85144-7DDA-4CB9-9D58-ED5B5A951C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2601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zh-Hans" sz="1200" b="0" i="0" u="none" strike="noStrike">
                <a:highlight>
                  <a:srgbClr val="000000">
                    <a:alpha val="0"/>
                  </a:srgbClr>
                </a:highlight>
                <a:latin typeface="Simsun"/>
                <a:ea typeface="Simsun"/>
              </a:rPr>
              <a:t>https://www.who.int/publications/m/item/10-proposals-to-build-a-safer-world-together---strengthening-the-global-architecture-for-health-emergency-preparedness--response-andresilience--white-paper-for-consultation--june-2022</a:t>
            </a:r>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Tx/>
                <a:buNone/>
                <a:defRPr/>
              </a:pPr>
              <a:t>27 Nov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Tx/>
                <a:buNone/>
                <a:defRPr/>
              </a:pPr>
              <a:t>1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959894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17.emf"/><Relationship Id="rId4" Type="http://schemas.openxmlformats.org/officeDocument/2006/relationships/tags" Target="../tags/tag25.xml"/><Relationship Id="rId9" Type="http://schemas.openxmlformats.org/officeDocument/2006/relationships/oleObject" Target="../embeddings/oleObject4.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51.xml"/><Relationship Id="rId7" Type="http://schemas.openxmlformats.org/officeDocument/2006/relationships/oleObject" Target="../embeddings/oleObject6.bin"/><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slideMaster" Target="../slideMasters/slideMaster9.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24.wmf"/></Relationships>
</file>

<file path=ppt/slideLayouts/_rels/slideLayout14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17.emf"/><Relationship Id="rId4" Type="http://schemas.openxmlformats.org/officeDocument/2006/relationships/tags" Target="../tags/tag57.xml"/><Relationship Id="rId9" Type="http://schemas.openxmlformats.org/officeDocument/2006/relationships/oleObject" Target="../embeddings/oleObject7.bin"/></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3.xml"/><Relationship Id="rId7" Type="http://schemas.openxmlformats.org/officeDocument/2006/relationships/slideMaster" Target="../slideMasters/slideMaster9.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 Id="rId9" Type="http://schemas.openxmlformats.org/officeDocument/2006/relationships/image" Target="../media/image1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9.xml"/><Relationship Id="rId7" Type="http://schemas.openxmlformats.org/officeDocument/2006/relationships/slideMaster" Target="../slideMasters/slideMaster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image" Target="../media/image1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75.xml"/><Relationship Id="rId7" Type="http://schemas.openxmlformats.org/officeDocument/2006/relationships/slideMaster" Target="../slideMasters/slideMaster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14.emf"/></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81.xml"/><Relationship Id="rId7" Type="http://schemas.openxmlformats.org/officeDocument/2006/relationships/tags" Target="../tags/tag8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5" Type="http://schemas.openxmlformats.org/officeDocument/2006/relationships/tags" Target="../tags/tag83.xml"/><Relationship Id="rId10" Type="http://schemas.openxmlformats.org/officeDocument/2006/relationships/image" Target="../media/image14.emf"/><Relationship Id="rId4" Type="http://schemas.openxmlformats.org/officeDocument/2006/relationships/tags" Target="../tags/tag82.xml"/><Relationship Id="rId9" Type="http://schemas.openxmlformats.org/officeDocument/2006/relationships/oleObject" Target="../embeddings/oleObject11.bin"/></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28.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image" Target="../media/image17.emf"/><Relationship Id="rId5" Type="http://schemas.openxmlformats.org/officeDocument/2006/relationships/tags" Target="../tags/tag90.xml"/><Relationship Id="rId10" Type="http://schemas.openxmlformats.org/officeDocument/2006/relationships/oleObject" Target="../embeddings/oleObject12.bin"/><Relationship Id="rId4" Type="http://schemas.openxmlformats.org/officeDocument/2006/relationships/tags" Target="../tags/tag89.xml"/><Relationship Id="rId9"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28.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image" Target="../media/image17.emf"/><Relationship Id="rId5" Type="http://schemas.openxmlformats.org/officeDocument/2006/relationships/tags" Target="../tags/tag98.xml"/><Relationship Id="rId10" Type="http://schemas.openxmlformats.org/officeDocument/2006/relationships/oleObject" Target="../embeddings/oleObject13.bin"/><Relationship Id="rId4" Type="http://schemas.openxmlformats.org/officeDocument/2006/relationships/tags" Target="../tags/tag97.xml"/><Relationship Id="rId9"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28.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image" Target="../media/image17.emf"/><Relationship Id="rId5" Type="http://schemas.openxmlformats.org/officeDocument/2006/relationships/tags" Target="../tags/tag106.xml"/><Relationship Id="rId10" Type="http://schemas.openxmlformats.org/officeDocument/2006/relationships/oleObject" Target="../embeddings/oleObject14.bin"/><Relationship Id="rId4" Type="http://schemas.openxmlformats.org/officeDocument/2006/relationships/tags" Target="../tags/tag105.xml"/><Relationship Id="rId9"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28.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18.emf"/><Relationship Id="rId5" Type="http://schemas.openxmlformats.org/officeDocument/2006/relationships/tags" Target="../tags/tag114.xml"/><Relationship Id="rId10" Type="http://schemas.openxmlformats.org/officeDocument/2006/relationships/oleObject" Target="../embeddings/oleObject15.bin"/><Relationship Id="rId4" Type="http://schemas.openxmlformats.org/officeDocument/2006/relationships/tags" Target="../tags/tag113.xml"/><Relationship Id="rId9"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image" Target="../media/image28.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7.emf"/><Relationship Id="rId5" Type="http://schemas.openxmlformats.org/officeDocument/2006/relationships/tags" Target="../tags/tag122.xml"/><Relationship Id="rId10" Type="http://schemas.openxmlformats.org/officeDocument/2006/relationships/oleObject" Target="../embeddings/oleObject16.bin"/><Relationship Id="rId4" Type="http://schemas.openxmlformats.org/officeDocument/2006/relationships/tags" Target="../tags/tag121.xml"/><Relationship Id="rId9"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28.xml"/><Relationship Id="rId7" Type="http://schemas.openxmlformats.org/officeDocument/2006/relationships/slideMaster" Target="../slideMasters/slideMaster9.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10" Type="http://schemas.openxmlformats.org/officeDocument/2006/relationships/image" Target="../media/image24.wmf"/><Relationship Id="rId4" Type="http://schemas.openxmlformats.org/officeDocument/2006/relationships/tags" Target="../tags/tag129.xml"/><Relationship Id="rId9" Type="http://schemas.openxmlformats.org/officeDocument/2006/relationships/image" Target="../media/image14.emf"/></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tags" Target="../tags/tag134.xml"/><Relationship Id="rId7" Type="http://schemas.openxmlformats.org/officeDocument/2006/relationships/image" Target="../media/image14.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18.bin"/><Relationship Id="rId5" Type="http://schemas.openxmlformats.org/officeDocument/2006/relationships/slideMaster" Target="../slideMasters/slideMaster9.xml"/><Relationship Id="rId4" Type="http://schemas.openxmlformats.org/officeDocument/2006/relationships/tags" Target="../tags/tag135.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28.png"/><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10" Type="http://schemas.openxmlformats.org/officeDocument/2006/relationships/image" Target="../media/image17.emf"/><Relationship Id="rId4" Type="http://schemas.openxmlformats.org/officeDocument/2006/relationships/tags" Target="../tags/tag141.xml"/><Relationship Id="rId9" Type="http://schemas.openxmlformats.org/officeDocument/2006/relationships/oleObject" Target="../embeddings/oleObject20.bin"/></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47.xml"/><Relationship Id="rId7" Type="http://schemas.openxmlformats.org/officeDocument/2006/relationships/oleObject" Target="../embeddings/oleObject21.bin"/><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9.xml"/><Relationship Id="rId5" Type="http://schemas.openxmlformats.org/officeDocument/2006/relationships/tags" Target="../tags/tag149.xml"/><Relationship Id="rId4" Type="http://schemas.openxmlformats.org/officeDocument/2006/relationships/tags" Target="../tags/tag148.xml"/><Relationship Id="rId9" Type="http://schemas.openxmlformats.org/officeDocument/2006/relationships/image" Target="../media/image24.wmf"/></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72.xml"/><Relationship Id="rId7" Type="http://schemas.openxmlformats.org/officeDocument/2006/relationships/oleObject" Target="../embeddings/oleObject23.bin"/><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slideMaster" Target="../slideMasters/slideMaster10.xml"/><Relationship Id="rId5" Type="http://schemas.openxmlformats.org/officeDocument/2006/relationships/tags" Target="../tags/tag174.xml"/><Relationship Id="rId10" Type="http://schemas.openxmlformats.org/officeDocument/2006/relationships/image" Target="../media/image16.png"/><Relationship Id="rId4" Type="http://schemas.openxmlformats.org/officeDocument/2006/relationships/tags" Target="../tags/tag173.xml"/><Relationship Id="rId9" Type="http://schemas.openxmlformats.org/officeDocument/2006/relationships/image" Target="../media/image15.jpeg"/></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5" Type="http://schemas.openxmlformats.org/officeDocument/2006/relationships/tags" Target="../tags/tag179.xml"/><Relationship Id="rId10" Type="http://schemas.openxmlformats.org/officeDocument/2006/relationships/image" Target="../media/image17.emf"/><Relationship Id="rId4" Type="http://schemas.openxmlformats.org/officeDocument/2006/relationships/tags" Target="../tags/tag178.xml"/><Relationship Id="rId9" Type="http://schemas.openxmlformats.org/officeDocument/2006/relationships/oleObject" Target="../embeddings/oleObject24.bin"/></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84.xml"/><Relationship Id="rId7" Type="http://schemas.openxmlformats.org/officeDocument/2006/relationships/slideMaster" Target="../slideMasters/slideMaster10.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4" Type="http://schemas.openxmlformats.org/officeDocument/2006/relationships/tags" Target="../tags/tag185.xml"/><Relationship Id="rId9" Type="http://schemas.openxmlformats.org/officeDocument/2006/relationships/image" Target="../media/image14.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90.xml"/><Relationship Id="rId7" Type="http://schemas.openxmlformats.org/officeDocument/2006/relationships/slideMaster" Target="../slideMasters/slideMaster10.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5" Type="http://schemas.openxmlformats.org/officeDocument/2006/relationships/tags" Target="../tags/tag192.xml"/><Relationship Id="rId4" Type="http://schemas.openxmlformats.org/officeDocument/2006/relationships/tags" Target="../tags/tag191.xml"/><Relationship Id="rId9" Type="http://schemas.openxmlformats.org/officeDocument/2006/relationships/image" Target="../media/image14.emf"/></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96.xml"/><Relationship Id="rId7" Type="http://schemas.openxmlformats.org/officeDocument/2006/relationships/slideMaster" Target="../slideMasters/slideMaster1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15.jpeg"/><Relationship Id="rId4" Type="http://schemas.openxmlformats.org/officeDocument/2006/relationships/tags" Target="../tags/tag197.xml"/><Relationship Id="rId9" Type="http://schemas.openxmlformats.org/officeDocument/2006/relationships/image" Target="../media/image14.emf"/></Relationships>
</file>

<file path=ppt/slideLayouts/_rels/slideLayout16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29.png"/><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15.jpeg"/><Relationship Id="rId5" Type="http://schemas.openxmlformats.org/officeDocument/2006/relationships/tags" Target="../tags/tag204.xml"/><Relationship Id="rId10" Type="http://schemas.openxmlformats.org/officeDocument/2006/relationships/image" Target="../media/image14.emf"/><Relationship Id="rId4" Type="http://schemas.openxmlformats.org/officeDocument/2006/relationships/tags" Target="../tags/tag203.xml"/><Relationship Id="rId9" Type="http://schemas.openxmlformats.org/officeDocument/2006/relationships/oleObject" Target="../embeddings/oleObject28.bin"/></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16.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image" Target="../media/image17.emf"/><Relationship Id="rId5" Type="http://schemas.openxmlformats.org/officeDocument/2006/relationships/tags" Target="../tags/tag211.xml"/><Relationship Id="rId10" Type="http://schemas.openxmlformats.org/officeDocument/2006/relationships/oleObject" Target="../embeddings/oleObject29.bin"/><Relationship Id="rId4" Type="http://schemas.openxmlformats.org/officeDocument/2006/relationships/tags" Target="../tags/tag210.xml"/><Relationship Id="rId9"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222.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16.png"/><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11" Type="http://schemas.openxmlformats.org/officeDocument/2006/relationships/image" Target="../media/image17.emf"/><Relationship Id="rId5" Type="http://schemas.openxmlformats.org/officeDocument/2006/relationships/tags" Target="../tags/tag219.xml"/><Relationship Id="rId10" Type="http://schemas.openxmlformats.org/officeDocument/2006/relationships/oleObject" Target="../embeddings/oleObject30.bin"/><Relationship Id="rId4" Type="http://schemas.openxmlformats.org/officeDocument/2006/relationships/tags" Target="../tags/tag218.xml"/><Relationship Id="rId9"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230.xml"/><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image" Target="../media/image16.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image" Target="../media/image17.emf"/><Relationship Id="rId5" Type="http://schemas.openxmlformats.org/officeDocument/2006/relationships/tags" Target="../tags/tag227.xml"/><Relationship Id="rId10" Type="http://schemas.openxmlformats.org/officeDocument/2006/relationships/oleObject" Target="../embeddings/oleObject31.bin"/><Relationship Id="rId4" Type="http://schemas.openxmlformats.org/officeDocument/2006/relationships/tags" Target="../tags/tag226.xml"/><Relationship Id="rId9"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8" Type="http://schemas.openxmlformats.org/officeDocument/2006/relationships/tags" Target="../tags/tag238.xml"/><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16.pn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image" Target="../media/image18.emf"/><Relationship Id="rId5" Type="http://schemas.openxmlformats.org/officeDocument/2006/relationships/tags" Target="../tags/tag235.xml"/><Relationship Id="rId10" Type="http://schemas.openxmlformats.org/officeDocument/2006/relationships/oleObject" Target="../embeddings/oleObject32.bin"/><Relationship Id="rId4" Type="http://schemas.openxmlformats.org/officeDocument/2006/relationships/tags" Target="../tags/tag234.xml"/><Relationship Id="rId9"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246.xml"/><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image" Target="../media/image16.pn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image" Target="../media/image17.emf"/><Relationship Id="rId5" Type="http://schemas.openxmlformats.org/officeDocument/2006/relationships/tags" Target="../tags/tag243.xml"/><Relationship Id="rId10" Type="http://schemas.openxmlformats.org/officeDocument/2006/relationships/oleObject" Target="../embeddings/oleObject33.bin"/><Relationship Id="rId4" Type="http://schemas.openxmlformats.org/officeDocument/2006/relationships/tags" Target="../tags/tag242.xml"/><Relationship Id="rId9"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49.xml"/><Relationship Id="rId7" Type="http://schemas.openxmlformats.org/officeDocument/2006/relationships/slideMaster" Target="../slideMasters/slideMaster10.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tags" Target="../tags/tag252.xml"/><Relationship Id="rId5" Type="http://schemas.openxmlformats.org/officeDocument/2006/relationships/tags" Target="../tags/tag251.xml"/><Relationship Id="rId10" Type="http://schemas.openxmlformats.org/officeDocument/2006/relationships/image" Target="../media/image16.png"/><Relationship Id="rId4" Type="http://schemas.openxmlformats.org/officeDocument/2006/relationships/tags" Target="../tags/tag250.xml"/><Relationship Id="rId9" Type="http://schemas.openxmlformats.org/officeDocument/2006/relationships/image" Target="../media/image14.emf"/></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55.xml"/><Relationship Id="rId7" Type="http://schemas.openxmlformats.org/officeDocument/2006/relationships/image" Target="../media/image14.emf"/><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oleObject" Target="../embeddings/oleObject35.bin"/><Relationship Id="rId5" Type="http://schemas.openxmlformats.org/officeDocument/2006/relationships/slideMaster" Target="../slideMasters/slideMaster10.xml"/><Relationship Id="rId4" Type="http://schemas.openxmlformats.org/officeDocument/2006/relationships/tags" Target="../tags/tag25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Master" Target="../slideMasters/slideMaster10.xml"/><Relationship Id="rId7" Type="http://schemas.openxmlformats.org/officeDocument/2006/relationships/image" Target="../media/image31.png"/><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30.jpeg"/><Relationship Id="rId5" Type="http://schemas.openxmlformats.org/officeDocument/2006/relationships/image" Target="../media/image14.emf"/><Relationship Id="rId4" Type="http://schemas.openxmlformats.org/officeDocument/2006/relationships/oleObject" Target="../embeddings/oleObject36.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xml"/><Relationship Id="rId7" Type="http://schemas.openxmlformats.org/officeDocument/2006/relationships/oleObject" Target="../embeddings/oleObject1.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16.png"/><Relationship Id="rId4" Type="http://schemas.openxmlformats.org/officeDocument/2006/relationships/tags" Target="../tags/tag5.xml"/><Relationship Id="rId9" Type="http://schemas.openxmlformats.org/officeDocument/2006/relationships/image" Target="../media/image15.jpe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17.emf"/><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image" Target="../media/image18.emf"/><Relationship Id="rId5" Type="http://schemas.openxmlformats.org/officeDocument/2006/relationships/tags" Target="../tags/tag18.xml"/><Relationship Id="rId10" Type="http://schemas.openxmlformats.org/officeDocument/2006/relationships/oleObject" Target="../embeddings/oleObject3.bin"/><Relationship Id="rId4" Type="http://schemas.openxmlformats.org/officeDocument/2006/relationships/tags" Target="../tags/tag17.xml"/><Relationship Id="rId9"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graphical user interface&#10;&#10;Description automatically generated">
            <a:extLst>
              <a:ext uri="{FF2B5EF4-FFF2-40B4-BE49-F238E27FC236}">
                <a16:creationId xmlns:a16="http://schemas.microsoft.com/office/drawing/2014/main" id="{1033997E-CF16-B84E-ACC8-3D4A156874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57294882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outdoor&#10;&#10;Description automatically generated">
            <a:extLst>
              <a:ext uri="{FF2B5EF4-FFF2-40B4-BE49-F238E27FC236}">
                <a16:creationId xmlns:a16="http://schemas.microsoft.com/office/drawing/2014/main" id="{AB5396E8-4CDD-E340-B285-71D77DAB5B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26" y="0"/>
            <a:ext cx="12202026"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1417FF31-A757-7943-AFFA-4B937657393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038216306"/>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userDrawn="1"/>
        </p:nvSpPr>
        <p:spPr>
          <a:xfrm>
            <a:off x="0" y="-99392"/>
            <a:ext cx="12192000"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ct val="0"/>
              </a:spcBef>
              <a:spcAft>
                <a:spcPct val="0"/>
              </a:spcAft>
            </a:pPr>
            <a:endParaRPr lang="en-GB">
              <a:solidFill>
                <a:prstClr val="white">
                  <a:lumMod val="75000"/>
                </a:prstClr>
              </a:solidFill>
            </a:endParaRPr>
          </a:p>
        </p:txBody>
      </p:sp>
      <p:sp>
        <p:nvSpPr>
          <p:cNvPr id="2" name="Title 1"/>
          <p:cNvSpPr>
            <a:spLocks noGrp="1"/>
          </p:cNvSpPr>
          <p:nvPr>
            <p:ph type="ctrTitle"/>
          </p:nvPr>
        </p:nvSpPr>
        <p:spPr>
          <a:xfrm>
            <a:off x="1828800" y="1844825"/>
            <a:ext cx="10363200" cy="1470025"/>
          </a:xfrm>
        </p:spPr>
        <p:txBody>
          <a:bodyPr/>
          <a:lstStyle>
            <a:lvl1pPr algn="l">
              <a:defRPr>
                <a:solidFill>
                  <a:schemeClr val="bg1"/>
                </a:solidFill>
                <a:effectLst>
                  <a:outerShdw blurRad="38100" dist="38100" dir="2700000" algn="tl">
                    <a:srgbClr val="000000">
                      <a:alpha val="43137"/>
                    </a:srgbClr>
                  </a:outerShdw>
                </a:effectLst>
              </a:defRPr>
            </a:lvl1pPr>
          </a:lstStyle>
          <a:p>
            <a:r>
              <a:rPr lang="en-US"/>
              <a:t>Click to edit Master title style</a:t>
            </a:r>
            <a:endParaRPr lang="en-GB"/>
          </a:p>
        </p:txBody>
      </p:sp>
      <p:sp>
        <p:nvSpPr>
          <p:cNvPr id="3" name="Subtitle 2"/>
          <p:cNvSpPr>
            <a:spLocks noGrp="1"/>
          </p:cNvSpPr>
          <p:nvPr>
            <p:ph type="subTitle" idx="1"/>
          </p:nvPr>
        </p:nvSpPr>
        <p:spPr>
          <a:xfrm>
            <a:off x="1828800" y="2962189"/>
            <a:ext cx="8534400" cy="792088"/>
          </a:xfrm>
        </p:spPr>
        <p:txBody>
          <a:bodyPr>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
        <p:nvSpPr>
          <p:cNvPr id="10" name="Rectangle 9"/>
          <p:cNvSpPr/>
          <p:nvPr userDrawn="1"/>
        </p:nvSpPr>
        <p:spPr>
          <a:xfrm>
            <a:off x="0" y="5489848"/>
            <a:ext cx="12192000"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ct val="0"/>
              </a:spcBef>
              <a:spcAft>
                <a:spcPct val="0"/>
              </a:spcAft>
            </a:pPr>
            <a:endParaRPr lang="en-GB">
              <a:solidFill>
                <a:prstClr val="white">
                  <a:lumMod val="75000"/>
                </a:prstClr>
              </a:solidFill>
            </a:endParaRPr>
          </a:p>
        </p:txBody>
      </p:sp>
    </p:spTree>
    <p:extLst>
      <p:ext uri="{BB962C8B-B14F-4D97-AF65-F5344CB8AC3E}">
        <p14:creationId xmlns:p14="http://schemas.microsoft.com/office/powerpoint/2010/main" val="4241490936"/>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New)">
    <p:spTree>
      <p:nvGrpSpPr>
        <p:cNvPr id="1" name=""/>
        <p:cNvGrpSpPr/>
        <p:nvPr/>
      </p:nvGrpSpPr>
      <p:grpSpPr>
        <a:xfrm>
          <a:off x="0" y="0"/>
          <a:ext cx="0" cy="0"/>
          <a:chOff x="0" y="0"/>
          <a:chExt cx="0" cy="0"/>
        </a:xfrm>
      </p:grpSpPr>
      <p:sp>
        <p:nvSpPr>
          <p:cNvPr id="2" name="Title 1"/>
          <p:cNvSpPr>
            <a:spLocks noGrp="1"/>
          </p:cNvSpPr>
          <p:nvPr>
            <p:ph type="title"/>
          </p:nvPr>
        </p:nvSpPr>
        <p:spPr>
          <a:xfrm>
            <a:off x="263352" y="107960"/>
            <a:ext cx="10972800" cy="461665"/>
          </a:xfrm>
        </p:spPr>
        <p:txBody>
          <a:bodyPr>
            <a:spAutoFit/>
          </a:bodyPr>
          <a:lstStyle>
            <a:lvl1pPr>
              <a:defRPr sz="2400">
                <a:latin typeface="Helvetica" pitchFamily="2" charset="0"/>
                <a:cs typeface="Calibri" panose="020F0502020204030204" pitchFamily="34" charset="0"/>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sz="2400" b="0"/>
            </a:lvl1pPr>
            <a:lvl2pPr>
              <a:defRPr sz="2000" b="0"/>
            </a:lvl2pPr>
            <a:lvl3pPr>
              <a:defRPr sz="1800" b="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309" y="44624"/>
            <a:ext cx="2844800" cy="365125"/>
          </a:xfrm>
          <a:prstGeom prst="rect">
            <a:avLst/>
          </a:prstGeom>
        </p:spPr>
        <p:txBody>
          <a:bodyPr/>
          <a:lstStyle/>
          <a:p>
            <a:fld id="{B890F294-F417-4A8D-B385-FE3A42F604A2}" type="datetime4">
              <a:rPr lang="en-GB" smtClean="0">
                <a:solidFill>
                  <a:prstClr val="white"/>
                </a:solidFill>
              </a:rPr>
              <a:t>27 November 2022</a:t>
            </a:fld>
            <a:endParaRPr lang="en-GB">
              <a:solidFill>
                <a:prstClr val="white"/>
              </a:solidFill>
            </a:endParaRPr>
          </a:p>
        </p:txBody>
      </p:sp>
      <p:grpSp>
        <p:nvGrpSpPr>
          <p:cNvPr id="7" name="Group 6">
            <a:extLst>
              <a:ext uri="{FF2B5EF4-FFF2-40B4-BE49-F238E27FC236}">
                <a16:creationId xmlns:a16="http://schemas.microsoft.com/office/drawing/2014/main" id="{E3DD33F1-5187-9E4D-ADED-16A7C26C3189}"/>
              </a:ext>
            </a:extLst>
          </p:cNvPr>
          <p:cNvGrpSpPr/>
          <p:nvPr userDrawn="1"/>
        </p:nvGrpSpPr>
        <p:grpSpPr>
          <a:xfrm>
            <a:off x="8720609" y="6254217"/>
            <a:ext cx="2515543" cy="569706"/>
            <a:chOff x="5525840" y="3530278"/>
            <a:chExt cx="1886657" cy="569706"/>
          </a:xfrm>
        </p:grpSpPr>
        <p:sp>
          <p:nvSpPr>
            <p:cNvPr id="8" name="TextBox 7">
              <a:extLst>
                <a:ext uri="{FF2B5EF4-FFF2-40B4-BE49-F238E27FC236}">
                  <a16:creationId xmlns:a16="http://schemas.microsoft.com/office/drawing/2014/main" id="{1EE8D9B3-779D-334F-AA72-780DB381B88C}"/>
                </a:ext>
              </a:extLst>
            </p:cNvPr>
            <p:cNvSpPr txBox="1"/>
            <p:nvPr/>
          </p:nvSpPr>
          <p:spPr>
            <a:xfrm>
              <a:off x="5540240" y="3530278"/>
              <a:ext cx="1872257" cy="246221"/>
            </a:xfrm>
            <a:prstGeom prst="rect">
              <a:avLst/>
            </a:prstGeom>
            <a:noFill/>
          </p:spPr>
          <p:txBody>
            <a:bodyPr wrap="square" rtlCol="0">
              <a:spAutoFit/>
            </a:bodyPr>
            <a:lstStyle/>
            <a:p>
              <a:pPr eaLnBrk="1" fontAlgn="auto" hangingPunct="1">
                <a:spcBef>
                  <a:spcPct val="0"/>
                </a:spcBef>
                <a:spcAft>
                  <a:spcPct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43DF961B-88BD-AB49-A653-F60ADE5A0223}"/>
                </a:ext>
              </a:extLst>
            </p:cNvPr>
            <p:cNvGrpSpPr/>
            <p:nvPr/>
          </p:nvGrpSpPr>
          <p:grpSpPr>
            <a:xfrm>
              <a:off x="5525840" y="3618320"/>
              <a:ext cx="1879457" cy="481664"/>
              <a:chOff x="5525840" y="3618320"/>
              <a:chExt cx="1879457" cy="481664"/>
            </a:xfrm>
          </p:grpSpPr>
          <p:sp>
            <p:nvSpPr>
              <p:cNvPr id="10" name="TextBox 9">
                <a:extLst>
                  <a:ext uri="{FF2B5EF4-FFF2-40B4-BE49-F238E27FC236}">
                    <a16:creationId xmlns:a16="http://schemas.microsoft.com/office/drawing/2014/main" id="{EB2B2741-A631-004E-B842-6B155E84BA10}"/>
                  </a:ext>
                </a:extLst>
              </p:cNvPr>
              <p:cNvSpPr txBox="1"/>
              <p:nvPr/>
            </p:nvSpPr>
            <p:spPr>
              <a:xfrm>
                <a:off x="6494240" y="3838374"/>
                <a:ext cx="889168" cy="261610"/>
              </a:xfrm>
              <a:prstGeom prst="rect">
                <a:avLst/>
              </a:prstGeom>
              <a:noFill/>
            </p:spPr>
            <p:txBody>
              <a:bodyPr wrap="square" rtlCol="0">
                <a:spAutoFit/>
              </a:bodyPr>
              <a:lstStyle/>
              <a:p>
                <a:pPr eaLnBrk="1" fontAlgn="auto" hangingPunct="1">
                  <a:spcBef>
                    <a:spcPct val="0"/>
                  </a:spcBef>
                  <a:spcAft>
                    <a:spcPct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62EA48E1-0CA9-3040-A8FB-E3BB54AACD0E}"/>
                  </a:ext>
                </a:extLst>
              </p:cNvPr>
              <p:cNvSpPr txBox="1"/>
              <p:nvPr/>
            </p:nvSpPr>
            <p:spPr>
              <a:xfrm>
                <a:off x="5525840" y="3618320"/>
                <a:ext cx="1879457" cy="400110"/>
              </a:xfrm>
              <a:prstGeom prst="rect">
                <a:avLst/>
              </a:prstGeom>
              <a:noFill/>
            </p:spPr>
            <p:txBody>
              <a:bodyPr wrap="square" rtlCol="0">
                <a:spAutoFit/>
              </a:bodyPr>
              <a:lstStyle/>
              <a:p>
                <a:pPr eaLnBrk="1" fontAlgn="auto" hangingPunct="1">
                  <a:spcBef>
                    <a:spcPct val="0"/>
                  </a:spcBef>
                  <a:spcAft>
                    <a:spcPct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2" name="Slide Number Placeholder 5">
            <a:extLst>
              <a:ext uri="{FF2B5EF4-FFF2-40B4-BE49-F238E27FC236}">
                <a16:creationId xmlns:a16="http://schemas.microsoft.com/office/drawing/2014/main" id="{58C1EF20-24E1-C045-B060-5E83E7184D90}"/>
              </a:ext>
            </a:extLst>
          </p:cNvPr>
          <p:cNvSpPr>
            <a:spLocks noGrp="1"/>
          </p:cNvSpPr>
          <p:nvPr>
            <p:ph type="sldNum" sz="quarter" idx="12"/>
          </p:nvPr>
        </p:nvSpPr>
        <p:spPr>
          <a:xfrm>
            <a:off x="8819819" y="6415692"/>
            <a:ext cx="2844800" cy="365125"/>
          </a:xfrm>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4026928492"/>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3352" y="53345"/>
            <a:ext cx="10972800" cy="1143000"/>
          </a:xfrm>
        </p:spPr>
        <p:txBody>
          <a:bodyPr>
            <a:normAutofit/>
          </a:bodyPr>
          <a:lstStyle>
            <a:lvl1pPr>
              <a:defRPr sz="3200"/>
            </a:lvl1pPr>
          </a:lstStyle>
          <a:p>
            <a:r>
              <a:rPr lang="en-US"/>
              <a:t>Click to edit Master title style</a:t>
            </a:r>
            <a:endParaRPr lang="en-GB"/>
          </a:p>
        </p:txBody>
      </p:sp>
      <p:sp>
        <p:nvSpPr>
          <p:cNvPr id="3" name="Content Placeholder 2"/>
          <p:cNvSpPr>
            <a:spLocks noGrp="1"/>
          </p:cNvSpPr>
          <p:nvPr>
            <p:ph idx="1"/>
          </p:nvPr>
        </p:nvSpPr>
        <p:spPr/>
        <p:txBody>
          <a:bodyPr/>
          <a:lstStyle>
            <a:lvl1pPr>
              <a:defRPr sz="2400" b="0"/>
            </a:lvl1pPr>
            <a:lvl2pPr>
              <a:defRPr sz="2000" b="0"/>
            </a:lvl2pPr>
            <a:lvl3pPr>
              <a:defRPr sz="1800" b="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309" y="44624"/>
            <a:ext cx="2844800" cy="365125"/>
          </a:xfrm>
          <a:prstGeom prst="rect">
            <a:avLst/>
          </a:prstGeom>
        </p:spPr>
        <p:txBody>
          <a:bodyPr/>
          <a:lstStyle/>
          <a:p>
            <a:fld id="{271D2D1A-57E5-4CBC-A45B-A88175BC2315}" type="datetime4">
              <a:rPr lang="en-GB" smtClean="0">
                <a:solidFill>
                  <a:prstClr val="white"/>
                </a:solidFill>
              </a:rPr>
              <a:t>27 November 2022</a:t>
            </a:fld>
            <a:endParaRPr lang="en-GB">
              <a:solidFill>
                <a:prstClr val="white"/>
              </a:solidFill>
            </a:endParaRPr>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2824983168"/>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0070C0"/>
                </a:solidFill>
              </a:defRPr>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552391551"/>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1A6B82EF-65A7-4F61-9814-06390FF23C36}" type="datetime4">
              <a:rPr lang="en-GB" smtClean="0">
                <a:solidFill>
                  <a:prstClr val="white"/>
                </a:solidFill>
              </a:rPr>
              <a:t>27 November 2022</a:t>
            </a:fld>
            <a:endParaRPr lang="en-GB">
              <a:solidFill>
                <a:prstClr val="white"/>
              </a:solidFill>
            </a:endParaRPr>
          </a:p>
        </p:txBody>
      </p:sp>
      <p:sp>
        <p:nvSpPr>
          <p:cNvPr id="7" name="Slide Number Placeholder 6"/>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4229856230"/>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880000" y="36001"/>
            <a:ext cx="2844800" cy="365125"/>
          </a:xfrm>
          <a:prstGeom prst="rect">
            <a:avLst/>
          </a:prstGeom>
        </p:spPr>
        <p:txBody>
          <a:bodyPr/>
          <a:lstStyle/>
          <a:p>
            <a:fld id="{535E962B-6F12-44F8-A6AF-38DE074AC812}" type="datetime4">
              <a:rPr lang="en-GB" smtClean="0">
                <a:solidFill>
                  <a:prstClr val="white"/>
                </a:solidFill>
              </a:rPr>
              <a:t>27 November 2022</a:t>
            </a:fld>
            <a:endParaRPr lang="en-GB">
              <a:solidFill>
                <a:prstClr val="white"/>
              </a:solidFill>
            </a:endParaRPr>
          </a:p>
        </p:txBody>
      </p:sp>
      <p:sp>
        <p:nvSpPr>
          <p:cNvPr id="9" name="Slide Number Placeholder 8"/>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690962522"/>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880000" y="36001"/>
            <a:ext cx="2844800" cy="365125"/>
          </a:xfrm>
          <a:prstGeom prst="rect">
            <a:avLst/>
          </a:prstGeom>
        </p:spPr>
        <p:txBody>
          <a:bodyPr/>
          <a:lstStyle/>
          <a:p>
            <a:fld id="{16DCAC36-4C2E-4917-ABC6-47B6B6EAFED9}" type="datetime4">
              <a:rPr lang="en-GB" smtClean="0">
                <a:solidFill>
                  <a:prstClr val="white"/>
                </a:solidFill>
              </a:rPr>
              <a:t>27 November 2022</a:t>
            </a:fld>
            <a:endParaRPr lang="en-GB">
              <a:solidFill>
                <a:prstClr val="white"/>
              </a:solidFill>
            </a:endParaRPr>
          </a:p>
        </p:txBody>
      </p:sp>
      <p:sp>
        <p:nvSpPr>
          <p:cNvPr id="5" name="Slide Number Placeholder 4"/>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166965451"/>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4C01078B-0141-473F-9D49-FFAB3E1BAC25}" type="datetime4">
              <a:rPr lang="en-GB" smtClean="0">
                <a:solidFill>
                  <a:prstClr val="white"/>
                </a:solidFill>
              </a:rPr>
              <a:t>27 November 2022</a:t>
            </a:fld>
            <a:endParaRPr lang="en-GB">
              <a:solidFill>
                <a:prstClr val="white"/>
              </a:solidFill>
            </a:endParaRPr>
          </a:p>
        </p:txBody>
      </p:sp>
      <p:sp>
        <p:nvSpPr>
          <p:cNvPr id="4" name="Slide Number Placeholder 3"/>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3492600458"/>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59008" cy="779686"/>
          </a:xfrm>
        </p:spPr>
        <p:txBody>
          <a:bodyPr anchor="b"/>
          <a:lstStyle>
            <a:lvl1pPr algn="l">
              <a:defRPr sz="2000" b="1">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4766733" y="1268760"/>
            <a:ext cx="6815667" cy="485740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268760"/>
            <a:ext cx="4011084" cy="485740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FCC85AB1-99AA-4DB7-98FA-D760E0F616F7}" type="datetime4">
              <a:rPr lang="en-GB" smtClean="0">
                <a:solidFill>
                  <a:prstClr val="white"/>
                </a:solidFill>
              </a:rPr>
              <a:t>27 November 2022</a:t>
            </a:fld>
            <a:endParaRPr lang="en-GB">
              <a:solidFill>
                <a:prstClr val="white"/>
              </a:solidFill>
            </a:endParaRPr>
          </a:p>
        </p:txBody>
      </p:sp>
      <p:sp>
        <p:nvSpPr>
          <p:cNvPr id="7" name="Slide Number Placeholder 6"/>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2932240268"/>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rgbClr val="0070C0"/>
                </a:solidFill>
              </a:defRPr>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58194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32F280ED-27DC-4A4A-B8DA-9636D06F727A}" type="datetime4">
              <a:rPr lang="en-GB" smtClean="0">
                <a:solidFill>
                  <a:prstClr val="white"/>
                </a:solidFill>
              </a:rPr>
              <a:t>27 November 2022</a:t>
            </a:fld>
            <a:endParaRPr lang="en-GB">
              <a:solidFill>
                <a:prstClr val="white"/>
              </a:solidFill>
            </a:endParaRPr>
          </a:p>
        </p:txBody>
      </p:sp>
      <p:sp>
        <p:nvSpPr>
          <p:cNvPr id="7" name="Slide Number Placeholder 6"/>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224383005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hospital room, room, spectacles&#10;&#10;Description automatically generated">
            <a:extLst>
              <a:ext uri="{FF2B5EF4-FFF2-40B4-BE49-F238E27FC236}">
                <a16:creationId xmlns:a16="http://schemas.microsoft.com/office/drawing/2014/main" id="{4B515F42-E9BB-BE4D-8EC9-94C5E359230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CBC8BF37-C905-DD4C-8673-EB5F04BB0FB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39223990"/>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000" y="36001"/>
            <a:ext cx="2844800" cy="365125"/>
          </a:xfrm>
          <a:prstGeom prst="rect">
            <a:avLst/>
          </a:prstGeom>
        </p:spPr>
        <p:txBody>
          <a:bodyPr/>
          <a:lstStyle/>
          <a:p>
            <a:fld id="{7CDAEBAE-301F-4A89-81B8-056DCCD68009}" type="datetime4">
              <a:rPr lang="en-GB" smtClean="0">
                <a:solidFill>
                  <a:prstClr val="white"/>
                </a:solidFill>
              </a:rPr>
              <a:t>27 November 2022</a:t>
            </a:fld>
            <a:endParaRPr lang="en-GB">
              <a:solidFill>
                <a:prstClr val="white"/>
              </a:solidFill>
            </a:endParaRPr>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t>‹#›</a:t>
            </a:fld>
            <a:endParaRPr lang="en-GB">
              <a:solidFill>
                <a:prstClr val="black">
                  <a:tint val="75000"/>
                </a:prstClr>
              </a:solidFill>
            </a:endParaRPr>
          </a:p>
        </p:txBody>
      </p:sp>
    </p:spTree>
    <p:extLst>
      <p:ext uri="{BB962C8B-B14F-4D97-AF65-F5344CB8AC3E}">
        <p14:creationId xmlns:p14="http://schemas.microsoft.com/office/powerpoint/2010/main" val="4210662574"/>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77078C88-A8FD-5E4F-ACFD-EEA2E5734300}"/>
              </a:ext>
            </a:extLst>
          </p:cNvPr>
          <p:cNvSpPr>
            <a:spLocks noGrp="1"/>
          </p:cNvSpPr>
          <p:nvPr>
            <p:ph type="pic" sz="quarter" idx="14"/>
          </p:nvPr>
        </p:nvSpPr>
        <p:spPr>
          <a:xfrm>
            <a:off x="3130095" y="77802"/>
            <a:ext cx="3985789" cy="6688759"/>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82289988"/>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67738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rtl="0">
              <a:defRPr lang="en-US"/>
            </a:lvl1pPr>
          </a:lstStyle>
          <a:p>
            <a:pPr lvl="0"/>
            <a:r>
              <a:rPr lang="en-US"/>
              <a:t>Click to edit Master title style</a:t>
            </a:r>
          </a:p>
        </p:txBody>
      </p:sp>
    </p:spTree>
    <p:extLst>
      <p:ext uri="{BB962C8B-B14F-4D97-AF65-F5344CB8AC3E}">
        <p14:creationId xmlns:p14="http://schemas.microsoft.com/office/powerpoint/2010/main" val="2078519554"/>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E0E32-3973-4384-9235-6D15D22579B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A00ED7C-E140-4E92-B95C-085F0ABCB0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570018-F0DE-4208-BB07-E3A1B5E5E12C}"/>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9E217E83-E030-47D3-8548-28643B2F90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7D5066-A970-4CD9-9795-7783231016D3}"/>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1203896264"/>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7D6F8-D2B1-48A0-BF88-3284701EC2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ABB70B-4075-4067-AA35-D3AD864865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94D845-7059-42F7-ACC4-DBC67E1455B9}"/>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5B7DD7DC-F0FC-466E-86DB-4C97913E1B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E0EDAA-32AE-446A-BCDE-046C18528B2D}"/>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4035598335"/>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5D0C3-5BDB-4A2F-8BFD-FAE19C8426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F4DBE7A-D82D-4D3E-8DB4-865578FFB73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47CA3D-DB5F-4CDE-BAE7-BA4BF23E2911}"/>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A000A2DC-4161-4729-837A-B803505229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4454F0-17E4-4BEB-8C31-778CE85F09FC}"/>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3939021464"/>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3D603-E093-4169-A585-A608DECAC0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92F17A-AC39-44E3-8298-30502B8F89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196E31-817D-4D6D-BE45-C0B44C5066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FB123D-4200-470B-A887-718060EC5C42}"/>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6" name="Footer Placeholder 5">
            <a:extLst>
              <a:ext uri="{FF2B5EF4-FFF2-40B4-BE49-F238E27FC236}">
                <a16:creationId xmlns:a16="http://schemas.microsoft.com/office/drawing/2014/main" id="{73FBEBA2-4473-4787-B8BE-AD6DB24DC1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296DC9-AD89-4312-9FFF-30146621639B}"/>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922886126"/>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DA00E-46A5-45C0-84E0-56127FD5430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E62403B-CEF8-4D0E-95C6-5FE61DB571B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4ABAD2A-DF18-4FBC-853E-1B2469DD468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2982DB-04D7-49EC-9BFD-638953A8FA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57C897-AF95-4B76-BA9A-CB0179B576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5BEA90-370C-4F82-BF71-D52701E1F895}"/>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8" name="Footer Placeholder 7">
            <a:extLst>
              <a:ext uri="{FF2B5EF4-FFF2-40B4-BE49-F238E27FC236}">
                <a16:creationId xmlns:a16="http://schemas.microsoft.com/office/drawing/2014/main" id="{1B1B4023-601D-4298-B168-367C6BBE0F1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002886-47E3-4BF2-9B73-DC6275D6C7D8}"/>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471217905"/>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0F265-97CB-4A7A-81CF-DF2536E1ED9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EB560C-B97B-4ED8-82D1-3FB8A68E8723}"/>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4" name="Footer Placeholder 3">
            <a:extLst>
              <a:ext uri="{FF2B5EF4-FFF2-40B4-BE49-F238E27FC236}">
                <a16:creationId xmlns:a16="http://schemas.microsoft.com/office/drawing/2014/main" id="{355EB0DB-9480-4432-BBA8-56BCC8B75F5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4D391EE-424D-4293-B93C-8D186A38B106}"/>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1148589571"/>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95A3E5-5BFA-4F22-93C5-4A234378F896}"/>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3" name="Footer Placeholder 2">
            <a:extLst>
              <a:ext uri="{FF2B5EF4-FFF2-40B4-BE49-F238E27FC236}">
                <a16:creationId xmlns:a16="http://schemas.microsoft.com/office/drawing/2014/main" id="{55E8B791-488B-447A-805F-7905E3D192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B4F88C7-1368-4B86-A1CE-F1E74D54E9C3}"/>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7217981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group of children raising their hands&#10;&#10;Description automatically generated">
            <a:extLst>
              <a:ext uri="{FF2B5EF4-FFF2-40B4-BE49-F238E27FC236}">
                <a16:creationId xmlns:a16="http://schemas.microsoft.com/office/drawing/2014/main" id="{035CF4F1-9FAE-4747-8962-E6680CBE74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A6F7867D-26DB-2A46-858E-D6A38A69147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253905533"/>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C8BCD-C0FF-4D65-A340-B3FD0001EF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AFF8BFC-B802-43BD-9D0D-7600CB509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7FB14-F476-484A-AF32-92E906EEF9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174E8B-2586-4265-A6C5-6B7E7825EC5D}"/>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6" name="Footer Placeholder 5">
            <a:extLst>
              <a:ext uri="{FF2B5EF4-FFF2-40B4-BE49-F238E27FC236}">
                <a16:creationId xmlns:a16="http://schemas.microsoft.com/office/drawing/2014/main" id="{6DA1D998-8ED9-472C-BD32-FAFBA4C4F7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C33802-01C0-45DD-907E-3DB6A040FA0A}"/>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883743270"/>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0CE4F-0B2D-484C-B708-26D0E67DBD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F689C20-57D6-4333-AB43-AAA01CD187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E841780-6420-4CD4-9126-AC721803CE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783CB1-D012-4DDA-AB5D-2A706049E031}"/>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6" name="Footer Placeholder 5">
            <a:extLst>
              <a:ext uri="{FF2B5EF4-FFF2-40B4-BE49-F238E27FC236}">
                <a16:creationId xmlns:a16="http://schemas.microsoft.com/office/drawing/2014/main" id="{D62F91C0-95EF-4AE3-A059-B54FCCDB42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658D36-BF71-4751-8B00-1DA955BEADFF}"/>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3361728182"/>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0DE8E-374D-427B-94D0-8C7F362CE96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036D32-1F2C-4CD7-9A42-0BD285FF13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967E2C-67D9-44F1-B861-C2BA05F782C5}"/>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76042E0E-4357-497A-B898-4F0A93BF0E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2AD331-7802-4E81-82DA-3A09FACDC62E}"/>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45004720"/>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891D02C-6DC5-4A35-B473-FDA4EB5F8FD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A5FE90-5B47-4991-93AE-94FE348564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6F8BFB-83AC-4D67-963E-7858F2D1DBC9}"/>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D4F03649-F1FE-4775-8454-2B699E2015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5A1E89-1F32-41D3-B866-4D92F8508D27}"/>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611834785"/>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mpany Histor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36F9BD5-56EA-4D28-B10E-AEEDD3F28486}"/>
              </a:ext>
            </a:extLst>
          </p:cNvPr>
          <p:cNvSpPr>
            <a:spLocks noGrp="1"/>
          </p:cNvSpPr>
          <p:nvPr>
            <p:ph type="pic" sz="quarter" idx="10"/>
          </p:nvPr>
        </p:nvSpPr>
        <p:spPr>
          <a:xfrm>
            <a:off x="1" y="-1"/>
            <a:ext cx="4068603" cy="2848707"/>
          </a:xfrm>
        </p:spPr>
        <p:txBody>
          <a:bodyPr anchor="ctr">
            <a:norm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10" name="Picture Placeholder 2">
            <a:extLst>
              <a:ext uri="{FF2B5EF4-FFF2-40B4-BE49-F238E27FC236}">
                <a16:creationId xmlns:a16="http://schemas.microsoft.com/office/drawing/2014/main" id="{AB1BDA3A-02D5-42A8-A1E9-32982EE7BCD3}"/>
              </a:ext>
            </a:extLst>
          </p:cNvPr>
          <p:cNvSpPr>
            <a:spLocks noGrp="1"/>
          </p:cNvSpPr>
          <p:nvPr>
            <p:ph type="pic" sz="quarter" idx="11"/>
          </p:nvPr>
        </p:nvSpPr>
        <p:spPr>
          <a:xfrm>
            <a:off x="4067909" y="-1"/>
            <a:ext cx="4063985" cy="2848707"/>
          </a:xfrm>
        </p:spPr>
        <p:txBody>
          <a:bodyPr anchor="ctr">
            <a:norm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11" name="Picture Placeholder 2">
            <a:extLst>
              <a:ext uri="{FF2B5EF4-FFF2-40B4-BE49-F238E27FC236}">
                <a16:creationId xmlns:a16="http://schemas.microsoft.com/office/drawing/2014/main" id="{6E469B63-E4CD-44CE-8CEC-866DE99078A5}"/>
              </a:ext>
            </a:extLst>
          </p:cNvPr>
          <p:cNvSpPr>
            <a:spLocks noGrp="1"/>
          </p:cNvSpPr>
          <p:nvPr>
            <p:ph type="pic" sz="quarter" idx="12"/>
          </p:nvPr>
        </p:nvSpPr>
        <p:spPr>
          <a:xfrm>
            <a:off x="8135817" y="-1"/>
            <a:ext cx="4063985" cy="2848707"/>
          </a:xfrm>
        </p:spPr>
        <p:txBody>
          <a:bodyPr anchor="ctr">
            <a:norm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12" name="Rectangle 11">
            <a:extLst>
              <a:ext uri="{FF2B5EF4-FFF2-40B4-BE49-F238E27FC236}">
                <a16:creationId xmlns:a16="http://schemas.microsoft.com/office/drawing/2014/main" id="{4082ABA6-2698-478B-ABD7-A1909A9EDA2F}"/>
              </a:ext>
            </a:extLst>
          </p:cNvPr>
          <p:cNvSpPr/>
          <p:nvPr userDrawn="1"/>
        </p:nvSpPr>
        <p:spPr>
          <a:xfrm>
            <a:off x="1" y="2848707"/>
            <a:ext cx="12192000" cy="785446"/>
          </a:xfrm>
          <a:prstGeom prst="rect">
            <a:avLst/>
          </a:prstGeom>
          <a:gradFill flip="none" rotWithShape="1">
            <a:gsLst>
              <a:gs pos="0">
                <a:schemeClr val="accent2"/>
              </a:gs>
              <a:gs pos="90000">
                <a:schemeClr val="accent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399"/>
          </a:p>
        </p:txBody>
      </p:sp>
      <p:sp>
        <p:nvSpPr>
          <p:cNvPr id="6" name="Marcador de texto 5">
            <a:extLst>
              <a:ext uri="{FF2B5EF4-FFF2-40B4-BE49-F238E27FC236}">
                <a16:creationId xmlns:a16="http://schemas.microsoft.com/office/drawing/2014/main" id="{90417AC6-C679-4F20-B547-BA6960853CDB}"/>
              </a:ext>
            </a:extLst>
          </p:cNvPr>
          <p:cNvSpPr>
            <a:spLocks noGrp="1"/>
          </p:cNvSpPr>
          <p:nvPr>
            <p:ph type="body" sz="quarter" idx="13"/>
          </p:nvPr>
        </p:nvSpPr>
        <p:spPr>
          <a:xfrm>
            <a:off x="679451" y="3828035"/>
            <a:ext cx="11142663" cy="2860675"/>
          </a:xfrm>
        </p:spPr>
        <p:txBody>
          <a:bodyPr>
            <a:normAutofit/>
          </a:bodyPr>
          <a:lstStyle>
            <a:lvl1pPr marL="0" indent="0" algn="ctr">
              <a:buNone/>
              <a:defRPr sz="2799">
                <a:latin typeface="Arial Nova" panose="020B0504020202020204" pitchFamily="34" charset="0"/>
              </a:defRPr>
            </a:lvl1pPr>
            <a:lvl2pPr marL="457063" indent="0">
              <a:buNone/>
              <a:defRPr>
                <a:latin typeface="Arial Nova" panose="020B0504020202020204" pitchFamily="34" charset="0"/>
              </a:defRPr>
            </a:lvl2pPr>
          </a:lstStyle>
          <a:p>
            <a:pPr lvl="0"/>
            <a:r>
              <a:rPr lang="es-ES"/>
              <a:t>Haga clic para modificar los estilos de texto del patrón</a:t>
            </a:r>
          </a:p>
        </p:txBody>
      </p:sp>
    </p:spTree>
    <p:extLst>
      <p:ext uri="{BB962C8B-B14F-4D97-AF65-F5344CB8AC3E}">
        <p14:creationId xmlns:p14="http://schemas.microsoft.com/office/powerpoint/2010/main" val="2073198226"/>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descr="A picture containing sitting, cake, table, holding&#10;&#10;Description automatically generated">
            <a:extLst>
              <a:ext uri="{FF2B5EF4-FFF2-40B4-BE49-F238E27FC236}">
                <a16:creationId xmlns:a16="http://schemas.microsoft.com/office/drawing/2014/main" id="{DBB9CB81-258D-2B49-AD91-29F76836BA4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28523387"/>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3693957980"/>
      </p:ext>
    </p:extLst>
  </p:cSld>
  <p:clrMapOvr>
    <a:overrideClrMapping bg1="lt1" tx1="dk1" bg2="lt2" tx2="dk2" accent1="accent1" accent2="accent2" accent3="accent3" accent4="accent4" accent5="accent5" accent6="accent6" hlink="hlink" folHlink="folHlink"/>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27/11/2022</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035503283"/>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52118701"/>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2107024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10" name="Picture 9" descr="A couple of women sitting on a couch with face paint&#10;&#10;Description automatically generated with low confidence">
            <a:extLst>
              <a:ext uri="{FF2B5EF4-FFF2-40B4-BE49-F238E27FC236}">
                <a16:creationId xmlns:a16="http://schemas.microsoft.com/office/drawing/2014/main" id="{EADEB64D-53D3-4D63-B581-4FE65832A8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4F846ACE-F7B0-D440-B15B-E67FB6AE87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041484890"/>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097320116"/>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56629668"/>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90872822"/>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85009922"/>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27/11/2022</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24347236"/>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t>27/11/2022</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1722265313"/>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t>27/11/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2263919696"/>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t>27/11/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30275802"/>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t>27/11/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06497419"/>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357165439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indoor&#10;&#10;Description automatically generated">
            <a:extLst>
              <a:ext uri="{FF2B5EF4-FFF2-40B4-BE49-F238E27FC236}">
                <a16:creationId xmlns:a16="http://schemas.microsoft.com/office/drawing/2014/main" id="{61998DFF-FB6D-AC4E-B564-65A2BBB7ED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0165601A-2F9A-E944-88DC-1B861B95175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37932770"/>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21D6E-BE26-411A-BFC1-F3811CFECCC3}"/>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AFB5AFF4-0714-4522-8093-26155F8D4FD1}"/>
              </a:ext>
            </a:extLst>
          </p:cNvPr>
          <p:cNvSpPr>
            <a:spLocks noGrp="1"/>
          </p:cNvSpPr>
          <p:nvPr>
            <p:ph idx="1"/>
          </p:nvPr>
        </p:nvSpPr>
        <p:spPr/>
        <p:txBody>
          <a:bodyPr/>
          <a:lstStyle>
            <a:lvl1pPr>
              <a:defRPr/>
            </a:lvl1pPr>
            <a:lvl2pPr>
              <a:defRPr>
                <a:latin typeface="Roboto" pitchFamily="2" charset="0"/>
                <a:ea typeface="Roboto" pitchFamily="2" charset="0"/>
              </a:defRPr>
            </a:lvl2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489535040"/>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388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5178753"/>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8926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25116213"/>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81938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5"/>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801874860"/>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35735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5"/>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999416"/>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5"/>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090302497"/>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6"/>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708467010"/>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174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7"/>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2135772340"/>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3618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7"/>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805757"/>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2180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7"/>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49919617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12" name="Picture 11" descr="A picture containing person, outdoor&#10;&#10;Description automatically generated">
            <a:extLst>
              <a:ext uri="{FF2B5EF4-FFF2-40B4-BE49-F238E27FC236}">
                <a16:creationId xmlns:a16="http://schemas.microsoft.com/office/drawing/2014/main" id="{5E00C2ED-0D1E-7A49-A779-06E3D1A8B6F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200014"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49A22B5D-3008-6A47-82BD-4F3C5509981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646425225"/>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29400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7"/>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287442209"/>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92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7"/>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115456886"/>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286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5"/>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530354685"/>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05638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0" name="OLE substitute imag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4"/>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231424389"/>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6"/>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2011680619"/>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04168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ln>
          <a:effectLst/>
        </p:spPr>
        <p:txBody>
          <a:bodyPr wrap="square" lIns="0" tIns="0" rIns="0" bIns="0" anchor="b">
            <a:spAutoFit/>
          </a:bodyPr>
          <a:lstStyle/>
          <a:p>
            <a:pPr algn="l" defTabSz="610744" fontAlgn="auto">
              <a:spcBef>
                <a:spcPct val="0"/>
              </a:spcBef>
              <a:spcAft>
                <a:spcPct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ct val="0"/>
                </a:spcBef>
                <a:spcAft>
                  <a:spcPct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062709887"/>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CustomLayouts 1">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758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015156"/>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73000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3515557" y="6186486"/>
            <a:ext cx="8281261"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140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3515557" y="5788376"/>
            <a:ext cx="8281261"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2000">
                <a:solidFill>
                  <a:schemeClr val="accent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3515557" y="5020935"/>
            <a:ext cx="8281261" cy="6771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r">
              <a:defRPr lang="en-US" sz="4400"/>
            </a:lvl1pPr>
          </a:lstStyle>
          <a:p>
            <a:pPr lvl="0"/>
            <a:r>
              <a:rPr lang="en-US"/>
              <a:t>Click to edit Master title style</a:t>
            </a:r>
          </a:p>
        </p:txBody>
      </p:sp>
      <p:pic>
        <p:nvPicPr>
          <p:cNvPr id="8" name="Picture 7">
            <a:extLst>
              <a:ext uri="{FF2B5EF4-FFF2-40B4-BE49-F238E27FC236}">
                <a16:creationId xmlns:a16="http://schemas.microsoft.com/office/drawing/2014/main" id="{6058562C-4E35-4638-99AB-34F814EC46CB}"/>
              </a:ext>
            </a:extLst>
          </p:cNvPr>
          <p:cNvPicPr>
            <a:picLocks noChangeAspect="1"/>
          </p:cNvPicPr>
          <p:nvPr userDrawn="1"/>
        </p:nvPicPr>
        <p:blipFill>
          <a:blip r:embed="rId9"/>
          <a:srcRect b="35741"/>
          <a:stretch>
            <a:fillRect/>
          </a:stretch>
        </p:blipFill>
        <p:spPr bwMode="ltGray">
          <a:xfrm>
            <a:off x="0" y="0"/>
            <a:ext cx="12192000" cy="4406900"/>
          </a:xfrm>
          <a:prstGeom prst="rect">
            <a:avLst/>
          </a:prstGeom>
        </p:spPr>
      </p:pic>
      <p:pic>
        <p:nvPicPr>
          <p:cNvPr id="9" name="Picture 28" descr="World Health Organization Logo, history, meaning, symbol, PNG">
            <a:extLst>
              <a:ext uri="{FF2B5EF4-FFF2-40B4-BE49-F238E27FC236}">
                <a16:creationId xmlns:a16="http://schemas.microsoft.com/office/drawing/2014/main" id="{46132EA0-E80F-4FE0-96AC-5AF8296AF68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t="17309" b="19199"/>
          <a:stretch>
            <a:fillRect/>
          </a:stretch>
        </p:blipFill>
        <p:spPr bwMode="ltGray">
          <a:xfrm>
            <a:off x="848269" y="5688688"/>
            <a:ext cx="2361110" cy="843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0998599"/>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a:lvl1pPr>
          </a:lstStyle>
          <a:p>
            <a:pPr lvl="0"/>
            <a:r>
              <a:rPr lang="en-US"/>
              <a:t>Click to edit Master title style</a:t>
            </a:r>
          </a:p>
        </p:txBody>
      </p:sp>
    </p:spTree>
    <p:extLst>
      <p:ext uri="{BB962C8B-B14F-4D97-AF65-F5344CB8AC3E}">
        <p14:creationId xmlns:p14="http://schemas.microsoft.com/office/powerpoint/2010/main" val="2290749356"/>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spTree>
    <p:extLst>
      <p:ext uri="{BB962C8B-B14F-4D97-AF65-F5344CB8AC3E}">
        <p14:creationId xmlns:p14="http://schemas.microsoft.com/office/powerpoint/2010/main" val="299853734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washing the hands&#10;&#10;Description automatically generated with medium confidence">
            <a:extLst>
              <a:ext uri="{FF2B5EF4-FFF2-40B4-BE49-F238E27FC236}">
                <a16:creationId xmlns:a16="http://schemas.microsoft.com/office/drawing/2014/main" id="{FC15D9EE-673F-8E4D-A59F-47BDE01A51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text&#10;&#10;Description automatically generated">
            <a:extLst>
              <a:ext uri="{FF2B5EF4-FFF2-40B4-BE49-F238E27FC236}">
                <a16:creationId xmlns:a16="http://schemas.microsoft.com/office/drawing/2014/main" id="{9B19B3F0-C2B2-AA48-910B-DA928F82983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234354521"/>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spTree>
    <p:extLst>
      <p:ext uri="{BB962C8B-B14F-4D97-AF65-F5344CB8AC3E}">
        <p14:creationId xmlns:p14="http://schemas.microsoft.com/office/powerpoint/2010/main" val="450218640"/>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465253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39C1C887-527A-454E-A1EC-D24BAC2C9581}"/>
              </a:ext>
            </a:extLst>
          </p:cNvPr>
          <p:cNvPicPr>
            <a:picLocks noChangeAspect="1"/>
          </p:cNvPicPr>
          <p:nvPr userDrawn="1"/>
        </p:nvPicPr>
        <p:blipFill>
          <a:blip r:embed="rId10"/>
          <a:stretch>
            <a:fillRect/>
          </a:stretch>
        </p:blipFill>
        <p:spPr>
          <a:xfrm>
            <a:off x="0" y="0"/>
            <a:ext cx="12192000" cy="6858000"/>
          </a:xfrm>
          <a:prstGeom prst="rect">
            <a:avLst/>
          </a:prstGeom>
        </p:spPr>
      </p:pic>
      <p:cxnSp>
        <p:nvCxnSpPr>
          <p:cNvPr id="11" name="Straight Connector 10">
            <a:extLst>
              <a:ext uri="{FF2B5EF4-FFF2-40B4-BE49-F238E27FC236}">
                <a16:creationId xmlns:a16="http://schemas.microsoft.com/office/drawing/2014/main" id="{AD1C01F9-30F8-4452-A3D1-F1F26411FE40}"/>
              </a:ext>
            </a:extLst>
          </p:cNvPr>
          <p:cNvCxnSpPr/>
          <p:nvPr userDrawn="1"/>
        </p:nvCxnSpPr>
        <p:spPr bwMode="white">
          <a:xfrm>
            <a:off x="554736" y="3680016"/>
            <a:ext cx="1163726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3757508"/>
            <a:ext cx="11082528" cy="677108"/>
          </a:xfrm>
        </p:spPr>
        <p:txBody>
          <a:bodyPr vert="horz" anchor="t">
            <a:noAutofit/>
          </a:bodyPr>
          <a:lstStyle>
            <a:lvl1pPr rtl="0">
              <a:lnSpc>
                <a:spcPct val="100000"/>
              </a:lnSpc>
              <a:defRPr sz="44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70339439"/>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9625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1D4387D-3F9E-44FB-B15D-91BAEB1229BB}"/>
              </a:ext>
            </a:extLst>
          </p:cNvPr>
          <p:cNvSpPr/>
          <p:nvPr userDrawn="1"/>
        </p:nvSpPr>
        <p:spPr>
          <a:xfrm>
            <a:off x="0" y="4003040"/>
            <a:ext cx="12192000" cy="285496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pSp>
        <p:nvGrpSpPr>
          <p:cNvPr id="11" name="Group 10">
            <a:extLst>
              <a:ext uri="{FF2B5EF4-FFF2-40B4-BE49-F238E27FC236}">
                <a16:creationId xmlns:a16="http://schemas.microsoft.com/office/drawing/2014/main" id="{08C3C407-ACE3-40C6-89A6-38F72481FA6B}"/>
              </a:ext>
            </a:extLst>
          </p:cNvPr>
          <p:cNvGrpSpPr/>
          <p:nvPr userDrawn="1"/>
        </p:nvGrpSpPr>
        <p:grpSpPr>
          <a:xfrm>
            <a:off x="0" y="1"/>
            <a:ext cx="12192000" cy="5867335"/>
            <a:chOff x="0" y="1"/>
            <a:chExt cx="12192000" cy="5867335"/>
          </a:xfrm>
        </p:grpSpPr>
        <p:pic>
          <p:nvPicPr>
            <p:cNvPr id="12" name="Picture 11">
              <a:extLst>
                <a:ext uri="{FF2B5EF4-FFF2-40B4-BE49-F238E27FC236}">
                  <a16:creationId xmlns:a16="http://schemas.microsoft.com/office/drawing/2014/main" id="{BF711CB9-347A-4E02-9D18-8EF91F197C93}"/>
                </a:ext>
              </a:extLst>
            </p:cNvPr>
            <p:cNvPicPr>
              <a:picLocks noChangeAspect="1"/>
            </p:cNvPicPr>
            <p:nvPr userDrawn="1"/>
          </p:nvPicPr>
          <p:blipFill>
            <a:blip r:embed="rId11"/>
            <a:srcRect b="14445"/>
            <a:stretch>
              <a:fillRect/>
            </a:stretch>
          </p:blipFill>
          <p:spPr>
            <a:xfrm>
              <a:off x="0" y="1"/>
              <a:ext cx="12192000" cy="5867335"/>
            </a:xfrm>
            <a:custGeom>
              <a:avLst/>
              <a:gdLst>
                <a:gd name="connsiteX0" fmla="*/ 0 w 12192000"/>
                <a:gd name="connsiteY0" fmla="*/ 0 h 5867335"/>
                <a:gd name="connsiteX1" fmla="*/ 12192000 w 12192000"/>
                <a:gd name="connsiteY1" fmla="*/ 0 h 5867335"/>
                <a:gd name="connsiteX2" fmla="*/ 12192000 w 12192000"/>
                <a:gd name="connsiteY2" fmla="*/ 4945992 h 5867335"/>
                <a:gd name="connsiteX3" fmla="*/ 3150413 w 12192000"/>
                <a:gd name="connsiteY3" fmla="*/ 4945992 h 5867335"/>
                <a:gd name="connsiteX4" fmla="*/ 2217725 w 12192000"/>
                <a:gd name="connsiteY4" fmla="*/ 5867335 h 5867335"/>
                <a:gd name="connsiteX5" fmla="*/ 2217725 w 12192000"/>
                <a:gd name="connsiteY5" fmla="*/ 4945992 h 5867335"/>
                <a:gd name="connsiteX6" fmla="*/ 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0" y="0"/>
                  </a:moveTo>
                  <a:lnTo>
                    <a:pt x="12192000" y="0"/>
                  </a:lnTo>
                  <a:lnTo>
                    <a:pt x="12192000" y="4945992"/>
                  </a:lnTo>
                  <a:lnTo>
                    <a:pt x="3150413" y="4945992"/>
                  </a:lnTo>
                  <a:lnTo>
                    <a:pt x="2217725" y="5867335"/>
                  </a:lnTo>
                  <a:lnTo>
                    <a:pt x="2217725" y="4945992"/>
                  </a:lnTo>
                  <a:lnTo>
                    <a:pt x="0" y="4945992"/>
                  </a:lnTo>
                  <a:close/>
                </a:path>
              </a:pathLst>
            </a:custGeom>
          </p:spPr>
        </p:pic>
        <p:pic>
          <p:nvPicPr>
            <p:cNvPr id="13" name="Picture 12">
              <a:extLst>
                <a:ext uri="{FF2B5EF4-FFF2-40B4-BE49-F238E27FC236}">
                  <a16:creationId xmlns:a16="http://schemas.microsoft.com/office/drawing/2014/main" id="{5BA1D677-019C-48C9-8AC8-2569322FB22A}"/>
                </a:ext>
              </a:extLst>
            </p:cNvPr>
            <p:cNvPicPr>
              <a:picLocks noChangeAspect="1"/>
            </p:cNvPicPr>
            <p:nvPr userDrawn="1"/>
          </p:nvPicPr>
          <p:blipFill>
            <a:blip r:embed="rId12">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grpSp>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2327378"/>
            <a:ext cx="9180576" cy="523220"/>
          </a:xfrm>
          <a:prstGeom prst="rect">
            <a:avLst/>
          </a:prstGeom>
        </p:spPr>
        <p:txBody>
          <a:bodyPr vert="horz">
            <a:spAutoFit/>
          </a:bodyPr>
          <a:lstStyle>
            <a:lvl1pPr rtl="0">
              <a:lnSpc>
                <a:spcPct val="105000"/>
              </a:lnSpc>
              <a:defRPr sz="3400">
                <a:solidFill>
                  <a:schemeClr val="bg1"/>
                </a:solidFill>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3055779"/>
            <a:ext cx="9180576" cy="246221"/>
          </a:xfrm>
          <a:prstGeom prst="rect">
            <a:avLst/>
          </a:prstGeom>
        </p:spPr>
        <p:txBody>
          <a:bodyPr wrap="square">
            <a:spAutoFit/>
          </a:bodyPr>
          <a:lstStyle>
            <a:lvl1pPr marL="0" indent="0" algn="l" rtl="0">
              <a:buNone/>
              <a:defRPr sz="1600" b="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67826380"/>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1F72885E-0DE3-40A0-BBC8-570EC4E0B6F7}"/>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6466137"/>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41BE8F80-333F-4BC6-871F-362BC468671B}"/>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3073924"/>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CA7FC9E0-EFDE-4AF5-ACAA-3B4E0228DDA9}"/>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4021665"/>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94D5D5DE-55B8-48D5-B42B-BF9B0174FE84}"/>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74030"/>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marL="0" marR="0" lvl="0" indent="0" algn="r" defTabSz="610744" rtl="0" eaLnBrk="1" fontAlgn="auto" latinLnBrk="0" hangingPunct="1">
              <a:lnSpc>
                <a:spcPct val="100000"/>
              </a:lnSpc>
              <a:spcBef>
                <a:spcPct val="0"/>
              </a:spcBef>
              <a:spcAft>
                <a:spcPct val="0"/>
              </a:spcAft>
              <a:buClrTx/>
              <a:buSzTx/>
              <a:buFontTx/>
              <a:buNone/>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ct val="0"/>
                </a:spcBef>
                <a:spcAft>
                  <a:spcPct val="0"/>
                </a:spcAft>
                <a:buClrTx/>
                <a:buSzTx/>
                <a:buFontTx/>
                <a:buNone/>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A182C6BE-C047-4648-9A4A-E6C74AC67CF8}"/>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9914395"/>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9" name="Picture 28" descr="World Health Organization Logo, history, meaning, symbol, PNG">
            <a:extLst>
              <a:ext uri="{FF2B5EF4-FFF2-40B4-BE49-F238E27FC236}">
                <a16:creationId xmlns:a16="http://schemas.microsoft.com/office/drawing/2014/main" id="{E0D5996A-E029-4838-81BD-B92B8057FE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180989"/>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0" name="OLE substitute imag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6" name="Picture 28" descr="World Health Organization Logo, history, meaning, symbol, PNG">
            <a:extLst>
              <a:ext uri="{FF2B5EF4-FFF2-40B4-BE49-F238E27FC236}">
                <a16:creationId xmlns:a16="http://schemas.microsoft.com/office/drawing/2014/main" id="{1C89051B-E786-42AA-B6F2-180B9042A8C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39216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11" name="Picture 10" descr="A person looking at a red wall&#10;&#10;Description automatically generated with low confidence">
            <a:extLst>
              <a:ext uri="{FF2B5EF4-FFF2-40B4-BE49-F238E27FC236}">
                <a16:creationId xmlns:a16="http://schemas.microsoft.com/office/drawing/2014/main" id="{094DE987-E110-E346-B5AD-7643BCA8FA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515197F2-75F0-D04D-A543-D1C47B2E808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33412777"/>
      </p:ext>
    </p:extLst>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En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6" name="Picture 2">
            <a:extLst>
              <a:ext uri="{FF2B5EF4-FFF2-40B4-BE49-F238E27FC236}">
                <a16:creationId xmlns:a16="http://schemas.microsoft.com/office/drawing/2014/main" id="{D77B9134-120A-492B-A83F-F8AB9563AC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ltGray">
          <a:xfrm>
            <a:off x="700" y="0"/>
            <a:ext cx="12191301"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F3C9D2F-3AE3-47DC-B727-1ECBC19B76BF}"/>
              </a:ext>
            </a:extLst>
          </p:cNvPr>
          <p:cNvSpPr txBox="1"/>
          <p:nvPr userDrawn="1"/>
        </p:nvSpPr>
        <p:spPr bwMode="ltGray">
          <a:xfrm>
            <a:off x="1016059" y="4840064"/>
            <a:ext cx="2412862" cy="400110"/>
          </a:xfrm>
          <a:prstGeom prst="rect">
            <a:avLst/>
          </a:prstGeom>
          <a:noFill/>
        </p:spPr>
        <p:txBody>
          <a:bodyPr wrap="square" rtlCol="0">
            <a:spAutoFit/>
          </a:bodyPr>
          <a:lstStyle/>
          <a:p>
            <a:pPr algn="ctr"/>
            <a:r>
              <a:rPr lang="en-US" sz="2000">
                <a:latin typeface="+mn-lt"/>
                <a:ea typeface="+mn-ea"/>
                <a:cs typeface="+mn-cs"/>
              </a:rPr>
              <a:t>WorldBankSouthAsia</a:t>
            </a:r>
            <a:endParaRPr lang="en-GB" sz="2000">
              <a:latin typeface="+mn-lt"/>
              <a:ea typeface="+mn-ea"/>
              <a:cs typeface="+mn-cs"/>
            </a:endParaRPr>
          </a:p>
        </p:txBody>
      </p:sp>
      <p:pic>
        <p:nvPicPr>
          <p:cNvPr id="9" name="Picture 2" descr="Image result for facebook twitter logos">
            <a:extLst>
              <a:ext uri="{FF2B5EF4-FFF2-40B4-BE49-F238E27FC236}">
                <a16:creationId xmlns:a16="http://schemas.microsoft.com/office/drawing/2014/main" id="{E7AE9AAF-DFCE-4638-9BFF-16D644488ED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r="75117"/>
          <a:stretch>
            <a:fillRect/>
          </a:stretch>
        </p:blipFill>
        <p:spPr bwMode="ltGray">
          <a:xfrm>
            <a:off x="260612" y="4699000"/>
            <a:ext cx="691951" cy="61555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facebook twitter logos">
            <a:extLst>
              <a:ext uri="{FF2B5EF4-FFF2-40B4-BE49-F238E27FC236}">
                <a16:creationId xmlns:a16="http://schemas.microsoft.com/office/drawing/2014/main" id="{1F4A1B3E-833A-4224-8268-39F1ECEC51D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l="49770" r="22830"/>
          <a:stretch>
            <a:fillRect/>
          </a:stretch>
        </p:blipFill>
        <p:spPr bwMode="ltGray">
          <a:xfrm>
            <a:off x="190607" y="5397500"/>
            <a:ext cx="761956" cy="61555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Image result for @">
            <a:extLst>
              <a:ext uri="{FF2B5EF4-FFF2-40B4-BE49-F238E27FC236}">
                <a16:creationId xmlns:a16="http://schemas.microsoft.com/office/drawing/2014/main" id="{6AB90F17-024E-45CE-8037-E27092C086F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ltGray">
          <a:xfrm>
            <a:off x="102421" y="6106126"/>
            <a:ext cx="913638" cy="52791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3672D31B-4A3E-49EB-B1CD-F3726832351F}"/>
              </a:ext>
            </a:extLst>
          </p:cNvPr>
          <p:cNvSpPr txBox="1"/>
          <p:nvPr userDrawn="1"/>
        </p:nvSpPr>
        <p:spPr bwMode="ltGray">
          <a:xfrm>
            <a:off x="825570" y="5538565"/>
            <a:ext cx="2412862" cy="400110"/>
          </a:xfrm>
          <a:prstGeom prst="rect">
            <a:avLst/>
          </a:prstGeom>
          <a:noFill/>
        </p:spPr>
        <p:txBody>
          <a:bodyPr wrap="square" rtlCol="0">
            <a:spAutoFit/>
          </a:bodyPr>
          <a:lstStyle/>
          <a:p>
            <a:pPr algn="ctr"/>
            <a:r>
              <a:rPr lang="en-US" sz="2000">
                <a:latin typeface="+mn-lt"/>
                <a:ea typeface="+mn-ea"/>
                <a:cs typeface="+mn-cs"/>
              </a:rPr>
              <a:t>WorldBankSasia</a:t>
            </a:r>
            <a:endParaRPr lang="en-GB" sz="2000">
              <a:latin typeface="+mn-lt"/>
              <a:ea typeface="+mn-ea"/>
              <a:cs typeface="+mn-cs"/>
            </a:endParaRPr>
          </a:p>
        </p:txBody>
      </p:sp>
      <p:sp>
        <p:nvSpPr>
          <p:cNvPr id="13" name="TextBox 12">
            <a:extLst>
              <a:ext uri="{FF2B5EF4-FFF2-40B4-BE49-F238E27FC236}">
                <a16:creationId xmlns:a16="http://schemas.microsoft.com/office/drawing/2014/main" id="{2DE5AA3D-FF7F-40D2-9708-F6BE31A67160}"/>
              </a:ext>
            </a:extLst>
          </p:cNvPr>
          <p:cNvSpPr txBox="1"/>
          <p:nvPr userDrawn="1"/>
        </p:nvSpPr>
        <p:spPr bwMode="ltGray">
          <a:xfrm>
            <a:off x="952563" y="6203369"/>
            <a:ext cx="2412862" cy="400110"/>
          </a:xfrm>
          <a:prstGeom prst="rect">
            <a:avLst/>
          </a:prstGeom>
          <a:noFill/>
        </p:spPr>
        <p:txBody>
          <a:bodyPr wrap="square" rtlCol="0">
            <a:spAutoFit/>
          </a:bodyPr>
          <a:lstStyle/>
          <a:p>
            <a:pPr algn="ctr"/>
            <a:r>
              <a:rPr lang="en-US" sz="2000">
                <a:latin typeface="+mn-lt"/>
                <a:ea typeface="+mn-ea"/>
                <a:cs typeface="+mn-cs"/>
              </a:rPr>
              <a:t>worldbank.org/sar</a:t>
            </a:r>
            <a:endParaRPr lang="en-GB" sz="2000">
              <a:latin typeface="+mn-lt"/>
              <a:ea typeface="+mn-ea"/>
              <a:cs typeface="+mn-cs"/>
            </a:endParaRPr>
          </a:p>
        </p:txBody>
      </p:sp>
    </p:spTree>
    <p:extLst>
      <p:ext uri="{BB962C8B-B14F-4D97-AF65-F5344CB8AC3E}">
        <p14:creationId xmlns:p14="http://schemas.microsoft.com/office/powerpoint/2010/main" val="3958223859"/>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text&#10;&#10;Description automatically generated">
            <a:extLst>
              <a:ext uri="{FF2B5EF4-FFF2-40B4-BE49-F238E27FC236}">
                <a16:creationId xmlns:a16="http://schemas.microsoft.com/office/drawing/2014/main" id="{5D0FC12C-9A97-EA48-83C9-9D7DC669F4C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2764226097"/>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940E6B1E-74E8-B84A-AC81-892B4A143E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604361237"/>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indoor, group&#10;&#10;Description automatically generated">
            <a:extLst>
              <a:ext uri="{FF2B5EF4-FFF2-40B4-BE49-F238E27FC236}">
                <a16:creationId xmlns:a16="http://schemas.microsoft.com/office/drawing/2014/main" id="{7A54A406-1880-D543-B446-594252FA352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65926"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DECA4922-A281-A04E-BAF2-E2D642A51DA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08616100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9" name="Picture 8" descr="A picture containing graphical user interface&#10;&#10;Description automatically generated">
            <a:extLst>
              <a:ext uri="{FF2B5EF4-FFF2-40B4-BE49-F238E27FC236}">
                <a16:creationId xmlns:a16="http://schemas.microsoft.com/office/drawing/2014/main" id="{5957EBC8-EE7C-6C4E-B866-229DD4F2F82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13730914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441CA066-B1CB-7247-BC69-30EB1E0CA4C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9145503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9" name="Picture 8" descr="A picture containing graphical user interface&#10;&#10;Description automatically generated">
            <a:extLst>
              <a:ext uri="{FF2B5EF4-FFF2-40B4-BE49-F238E27FC236}">
                <a16:creationId xmlns:a16="http://schemas.microsoft.com/office/drawing/2014/main" id="{7A54CB7E-FEA4-7244-A1F4-EAEEA53C9BC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44816672"/>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endParaRPr lang="en-US"/>
          </a:p>
        </p:txBody>
      </p:sp>
      <p:sp>
        <p:nvSpPr>
          <p:cNvPr id="11" name="Title 1">
            <a:extLst>
              <a:ext uri="{FF2B5EF4-FFF2-40B4-BE49-F238E27FC236}">
                <a16:creationId xmlns:a16="http://schemas.microsoft.com/office/drawing/2014/main" id="{7DA67AD6-D8C7-B74A-B8D9-C0B4BE696ED5}"/>
              </a:ext>
            </a:extLst>
          </p:cNvPr>
          <p:cNvSpPr txBox="1"/>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3FDD2460-4A74-2E4C-A6FD-D21C550C1CD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68010716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text&#10;&#10;Description automatically generated">
            <a:extLst>
              <a:ext uri="{FF2B5EF4-FFF2-40B4-BE49-F238E27FC236}">
                <a16:creationId xmlns:a16="http://schemas.microsoft.com/office/drawing/2014/main" id="{5D0FC12C-9A97-EA48-83C9-9D7DC669F4C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255334088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endParaRPr lang="en-US"/>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endParaRPr lang="en-US"/>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endParaRPr lang="en-US"/>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pic>
        <p:nvPicPr>
          <p:cNvPr id="13" name="Picture 12" descr="A picture containing text&#10;&#10;Description automatically generated">
            <a:extLst>
              <a:ext uri="{FF2B5EF4-FFF2-40B4-BE49-F238E27FC236}">
                <a16:creationId xmlns:a16="http://schemas.microsoft.com/office/drawing/2014/main" id="{60FFAA53-3E27-274F-AB00-FD5E13CCE0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211128769"/>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text&#10;&#10;Description automatically generated">
            <a:extLst>
              <a:ext uri="{FF2B5EF4-FFF2-40B4-BE49-F238E27FC236}">
                <a16:creationId xmlns:a16="http://schemas.microsoft.com/office/drawing/2014/main" id="{21D02B5C-C85E-8E40-ABB1-518E920A14E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32905020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10;&#10;Description automatically generated">
            <a:extLst>
              <a:ext uri="{FF2B5EF4-FFF2-40B4-BE49-F238E27FC236}">
                <a16:creationId xmlns:a16="http://schemas.microsoft.com/office/drawing/2014/main" id="{EA038A83-0721-DA4F-A54E-BF1B9B538A2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09139812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5DBF1292-641E-584B-ABF4-21119162322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724930911"/>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ct val="0"/>
              </a:spcBef>
              <a:buNone/>
              <a:defRPr/>
            </a:lvl2pPr>
            <a:lvl3pPr marL="0" indent="0">
              <a:spcBef>
                <a:spcPct val="0"/>
              </a:spcBef>
              <a:buNone/>
              <a:defRPr/>
            </a:lvl3pPr>
            <a:lvl4pPr marL="0" indent="0">
              <a:spcBef>
                <a:spcPct val="0"/>
              </a:spcBef>
              <a:buNone/>
              <a:defRPr/>
            </a:lvl4pPr>
            <a:lvl5pPr marL="0" indent="0">
              <a:spcBef>
                <a:spcPct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text&#10;&#10;Description automatically generated">
            <a:extLst>
              <a:ext uri="{FF2B5EF4-FFF2-40B4-BE49-F238E27FC236}">
                <a16:creationId xmlns:a16="http://schemas.microsoft.com/office/drawing/2014/main" id="{909B46AE-2421-FE49-9841-024D24ED082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84299370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text&#10;&#10;Description automatically generated">
            <a:extLst>
              <a:ext uri="{FF2B5EF4-FFF2-40B4-BE49-F238E27FC236}">
                <a16:creationId xmlns:a16="http://schemas.microsoft.com/office/drawing/2014/main" id="{B1D2B07B-09EC-1844-96A4-8FF542C8A26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2986451296"/>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text&#10;&#10;Description automatically generated">
            <a:extLst>
              <a:ext uri="{FF2B5EF4-FFF2-40B4-BE49-F238E27FC236}">
                <a16:creationId xmlns:a16="http://schemas.microsoft.com/office/drawing/2014/main" id="{33ADBA6D-5240-F44B-B799-52F5DEBC863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127124506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940E6B1E-74E8-B84A-AC81-892B4A143E8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474559508"/>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A picture containing text&#10;&#10;Description automatically generated">
            <a:extLst>
              <a:ext uri="{FF2B5EF4-FFF2-40B4-BE49-F238E27FC236}">
                <a16:creationId xmlns:a16="http://schemas.microsoft.com/office/drawing/2014/main" id="{7D733DF2-986C-E047-8710-EC8E8FE604F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26530691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A picture containing text&#10;&#10;Description automatically generated">
            <a:extLst>
              <a:ext uri="{FF2B5EF4-FFF2-40B4-BE49-F238E27FC236}">
                <a16:creationId xmlns:a16="http://schemas.microsoft.com/office/drawing/2014/main" id="{5EBBBDF4-6F22-1740-9D3C-48F58D7D510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95999220"/>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9EC7C440-DCFB-C047-ADE7-BF5BE1DA111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136339372"/>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descr="A picture containing graphical user interface&#10;&#10;Description automatically generated">
            <a:extLst>
              <a:ext uri="{FF2B5EF4-FFF2-40B4-BE49-F238E27FC236}">
                <a16:creationId xmlns:a16="http://schemas.microsoft.com/office/drawing/2014/main" id="{4ABB2213-A8D2-2B4E-A044-CDA8CF39EEC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904554138"/>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ct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10;&#10;Description automatically generated">
            <a:extLst>
              <a:ext uri="{FF2B5EF4-FFF2-40B4-BE49-F238E27FC236}">
                <a16:creationId xmlns:a16="http://schemas.microsoft.com/office/drawing/2014/main" id="{442F6827-29C2-9C43-AFC4-BB8E28665E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1941698101"/>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10;&#10;Description automatically generated">
            <a:extLst>
              <a:ext uri="{FF2B5EF4-FFF2-40B4-BE49-F238E27FC236}">
                <a16:creationId xmlns:a16="http://schemas.microsoft.com/office/drawing/2014/main" id="{5CFE15EA-86BF-5841-A80A-A30088F131F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76287129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text&#10;&#10;Description automatically generated">
            <a:extLst>
              <a:ext uri="{FF2B5EF4-FFF2-40B4-BE49-F238E27FC236}">
                <a16:creationId xmlns:a16="http://schemas.microsoft.com/office/drawing/2014/main" id="{70B4A0F8-8C72-8547-B04C-8A0B6CC6EA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087602355"/>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8E08B1A9-51B6-DF47-9292-45108853881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83992618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73000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0" name="OLE substitute imag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3515557" y="6186486"/>
            <a:ext cx="8281261"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140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3515557" y="5788376"/>
            <a:ext cx="8281261" cy="30777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2000">
                <a:solidFill>
                  <a:schemeClr val="accent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3515557" y="5020935"/>
            <a:ext cx="8281261" cy="6771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r">
              <a:defRPr lang="en-US" sz="4400"/>
            </a:lvl1pPr>
          </a:lstStyle>
          <a:p>
            <a:pPr lvl="0"/>
            <a:r>
              <a:rPr lang="en-US"/>
              <a:t>Click to edit Master title style</a:t>
            </a:r>
          </a:p>
        </p:txBody>
      </p:sp>
      <p:pic>
        <p:nvPicPr>
          <p:cNvPr id="8" name="Picture 7">
            <a:extLst>
              <a:ext uri="{FF2B5EF4-FFF2-40B4-BE49-F238E27FC236}">
                <a16:creationId xmlns:a16="http://schemas.microsoft.com/office/drawing/2014/main" id="{6058562C-4E35-4638-99AB-34F814EC46CB}"/>
              </a:ext>
            </a:extLst>
          </p:cNvPr>
          <p:cNvPicPr>
            <a:picLocks noChangeAspect="1"/>
          </p:cNvPicPr>
          <p:nvPr userDrawn="1"/>
        </p:nvPicPr>
        <p:blipFill>
          <a:blip r:embed="rId9"/>
          <a:srcRect b="35741"/>
          <a:stretch>
            <a:fillRect/>
          </a:stretch>
        </p:blipFill>
        <p:spPr bwMode="ltGray">
          <a:xfrm>
            <a:off x="0" y="0"/>
            <a:ext cx="12192000" cy="4406900"/>
          </a:xfrm>
          <a:prstGeom prst="rect">
            <a:avLst/>
          </a:prstGeom>
        </p:spPr>
      </p:pic>
      <p:pic>
        <p:nvPicPr>
          <p:cNvPr id="9" name="Picture 28" descr="World Health Organization Logo, history, meaning, symbol, PNG">
            <a:extLst>
              <a:ext uri="{FF2B5EF4-FFF2-40B4-BE49-F238E27FC236}">
                <a16:creationId xmlns:a16="http://schemas.microsoft.com/office/drawing/2014/main" id="{46132EA0-E80F-4FE0-96AC-5AF8296AF68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t="17309" b="19199"/>
          <a:stretch>
            <a:fillRect/>
          </a:stretch>
        </p:blipFill>
        <p:spPr bwMode="ltGray">
          <a:xfrm>
            <a:off x="848269" y="5688688"/>
            <a:ext cx="2361110" cy="843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7263950"/>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a:lvl1pPr>
          </a:lstStyle>
          <a:p>
            <a:pPr lvl="0"/>
            <a:r>
              <a:rPr lang="en-US"/>
              <a:t>Click to edit Master title style</a:t>
            </a:r>
          </a:p>
        </p:txBody>
      </p:sp>
    </p:spTree>
    <p:extLst>
      <p:ext uri="{BB962C8B-B14F-4D97-AF65-F5344CB8AC3E}">
        <p14:creationId xmlns:p14="http://schemas.microsoft.com/office/powerpoint/2010/main" val="21119555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text&#10;&#10;Description automatically generated">
            <a:extLst>
              <a:ext uri="{FF2B5EF4-FFF2-40B4-BE49-F238E27FC236}">
                <a16:creationId xmlns:a16="http://schemas.microsoft.com/office/drawing/2014/main" id="{E13E6DE7-5F9A-894A-8D41-2C2F7B8C5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1687929454"/>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ln>
          <a:effectLst/>
        </p:spPr>
        <p:txBody>
          <a:bodyPr wrap="square" lIns="0" tIns="0" rIns="0" bIns="0" anchor="b">
            <a:spAutoFit/>
          </a:bodyPr>
          <a:lstStyle/>
          <a:p>
            <a:pPr algn="r" defTabSz="610744" rtl="0" fontAlgn="auto">
              <a:spcBef>
                <a:spcPct val="0"/>
              </a:spcBef>
              <a:spcAft>
                <a:spcPct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ct val="0"/>
                </a:spcBef>
                <a:spcAft>
                  <a:spcPct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a:cs typeface="Arial" panose="020B0604020202020204" pitchFamily="34" charset="0"/>
              </a:defRPr>
            </a:lvl1pPr>
            <a:lvl2pPr marL="228600"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94D5D5DE-55B8-48D5-B42B-BF9B0174FE84}"/>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9376475"/>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1613266155"/>
      </p:ext>
    </p:extLst>
  </p:cSld>
  <p:clrMapOvr>
    <a:overrideClrMapping bg1="lt1" tx1="dk1" bg2="lt2" tx2="dk2" accent1="accent1" accent2="accent2" accent3="accent3" accent4="accent4" accent5="accent5" accent6="accent6" hlink="hlink" folHlink="folHlink"/>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60199666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55720437"/>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310275459"/>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03984374"/>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2361364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09260648"/>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06465887"/>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3947796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AF11AD54-8930-934A-91BC-6282DA7EE0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844920631"/>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65875814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3470232707"/>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11676962"/>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99629255"/>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339950557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D46F1E-B4D3-4FF6-926A-69EA93670E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3502"/>
            <a:ext cx="12185779" cy="6861503"/>
          </a:xfrm>
          <a:prstGeom prst="rect">
            <a:avLst/>
          </a:prstGeom>
        </p:spPr>
      </p:pic>
      <p:pic>
        <p:nvPicPr>
          <p:cNvPr id="3" name="Picture 2">
            <a:extLst>
              <a:ext uri="{FF2B5EF4-FFF2-40B4-BE49-F238E27FC236}">
                <a16:creationId xmlns:a16="http://schemas.microsoft.com/office/drawing/2014/main" id="{B79B2D14-9209-45D0-A46C-A9119B3D95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502"/>
            <a:ext cx="12185779" cy="6861503"/>
          </a:xfrm>
          <a:prstGeom prst="rect">
            <a:avLst/>
          </a:prstGeom>
        </p:spPr>
      </p:pic>
    </p:spTree>
    <p:extLst>
      <p:ext uri="{BB962C8B-B14F-4D97-AF65-F5344CB8AC3E}">
        <p14:creationId xmlns:p14="http://schemas.microsoft.com/office/powerpoint/2010/main" val="2068540192"/>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2866425659"/>
      </p:ext>
    </p:extLst>
  </p:cSld>
  <p:clrMapOvr>
    <a:overrideClrMapping bg1="lt1" tx1="dk1" bg2="lt2" tx2="dk2" accent1="accent1" accent2="accent2" accent3="accent3" accent4="accent4" accent5="accent5" accent6="accent6" hlink="hlink" folHlink="folHlink"/>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352145791"/>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86968661"/>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01892286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859FD2F3-6BB1-B440-8503-D1AF9C5E5B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436244910"/>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97146972"/>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82047304"/>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98561531"/>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636231867"/>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902065057"/>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740606684"/>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1159187608"/>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11888648"/>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955213289"/>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44607068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graphical user interface&#10;&#10;Description automatically generated">
            <a:extLst>
              <a:ext uri="{FF2B5EF4-FFF2-40B4-BE49-F238E27FC236}">
                <a16:creationId xmlns:a16="http://schemas.microsoft.com/office/drawing/2014/main" id="{0BE10D11-E2DD-FA4A-999A-D66244918CA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4271663569"/>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34434" y="188914"/>
            <a:ext cx="11523133" cy="922337"/>
          </a:xfrm>
          <a:prstGeom prst="rect">
            <a:avLst/>
          </a:prstGeom>
          <a:noFill/>
          <a:ln>
            <a:noFill/>
          </a:ln>
        </p:spPr>
        <p:txBody>
          <a:bodyPr wrap="square" lIns="91425" tIns="91425" rIns="91425" bIns="91425" anchor="ctr" anchorCtr="0"/>
          <a:lstStyle>
            <a:lvl1pPr marL="0" marR="0" lvl="0"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1pPr>
            <a:lvl2pPr marL="0" marR="0" lvl="1"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2pPr>
            <a:lvl3pPr marL="0" marR="0" lvl="2"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3pPr>
            <a:lvl4pPr marL="0" marR="0" lvl="3"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4pPr>
            <a:lvl5pPr marL="0" marR="0" lvl="4"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5pPr>
            <a:lvl6pPr marL="457200" marR="0" lvl="5"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6pPr>
            <a:lvl7pPr marL="914400" marR="0" lvl="6"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7pPr>
            <a:lvl8pPr marL="1371600" marR="0" lvl="7"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8pPr>
            <a:lvl9pPr marL="1828800" marR="0" lvl="8" indent="0" algn="ctr" rtl="0">
              <a:spcBef>
                <a:spcPct val="0"/>
              </a:spcBef>
              <a:spcAft>
                <a:spcPct val="0"/>
              </a:spcAft>
              <a:buSzPts val="1400"/>
              <a:buNone/>
              <a:defRPr sz="4400" b="0" i="0" u="none" strike="noStrike" cap="none">
                <a:solidFill>
                  <a:schemeClr val="lt1"/>
                </a:solidFill>
                <a:latin typeface="Calibri" panose="020F0502020204030204"/>
                <a:ea typeface="Calibri"/>
                <a:cs typeface="Calibri"/>
                <a:sym typeface="Calibri" panose="020F0502020204030204"/>
              </a:defRPr>
            </a:lvl9pPr>
          </a:lstStyle>
          <a:p>
            <a:endParaRPr/>
          </a:p>
        </p:txBody>
      </p:sp>
      <p:sp>
        <p:nvSpPr>
          <p:cNvPr id="27" name="Shape 27"/>
          <p:cNvSpPr txBox="1">
            <a:spLocks noGrp="1"/>
          </p:cNvSpPr>
          <p:nvPr>
            <p:ph type="body" idx="1"/>
          </p:nvPr>
        </p:nvSpPr>
        <p:spPr>
          <a:xfrm>
            <a:off x="3454400" y="1676401"/>
            <a:ext cx="11523133" cy="4751387"/>
          </a:xfrm>
          <a:prstGeom prst="rect">
            <a:avLst/>
          </a:prstGeom>
          <a:noFill/>
          <a:ln>
            <a:noFill/>
          </a:ln>
        </p:spPr>
        <p:txBody>
          <a:bodyPr wrap="square" lIns="91425" tIns="91425" rIns="91425" bIns="91425" anchor="t" anchorCtr="0"/>
          <a:lstStyle>
            <a:lvl1pPr marL="342900" marR="0" lvl="0" indent="-139700" algn="l" rtl="0">
              <a:spcBef>
                <a:spcPts val="640"/>
              </a:spcBef>
              <a:spcAft>
                <a:spcPct val="0"/>
              </a:spcAft>
              <a:buClr>
                <a:schemeClr val="dk1"/>
              </a:buClr>
              <a:buSzPts val="3200"/>
              <a:buFont typeface="Calibri" panose="020F0502020204030204"/>
              <a:buChar char="•"/>
              <a:defRPr sz="3200" b="0" i="0" u="none" strike="noStrike" cap="none">
                <a:solidFill>
                  <a:schemeClr val="dk1"/>
                </a:solidFill>
                <a:latin typeface="Calibri" panose="020F0502020204030204"/>
                <a:ea typeface="Calibri"/>
                <a:cs typeface="Calibri"/>
                <a:sym typeface="Calibri" panose="020F0502020204030204"/>
              </a:defRPr>
            </a:lvl1pPr>
            <a:lvl2pPr marL="742950" marR="0" lvl="1" indent="-107950" algn="l" rtl="0">
              <a:spcBef>
                <a:spcPts val="560"/>
              </a:spcBef>
              <a:spcAft>
                <a:spcPct val="0"/>
              </a:spcAft>
              <a:buClr>
                <a:schemeClr val="dk1"/>
              </a:buClr>
              <a:buSzPts val="2800"/>
              <a:buFont typeface="Calibri" panose="020F0502020204030204"/>
              <a:buChar char="–"/>
              <a:defRPr sz="2800" b="0" i="0" u="none" strike="noStrike" cap="none">
                <a:solidFill>
                  <a:schemeClr val="dk1"/>
                </a:solidFill>
                <a:latin typeface="Calibri" panose="020F0502020204030204"/>
                <a:ea typeface="Calibri"/>
                <a:cs typeface="Calibri"/>
                <a:sym typeface="Calibri" panose="020F0502020204030204"/>
              </a:defRPr>
            </a:lvl2pPr>
            <a:lvl3pPr marL="1143000" marR="0" lvl="2" indent="-76200" algn="l" rtl="0">
              <a:spcBef>
                <a:spcPts val="480"/>
              </a:spcBef>
              <a:spcAft>
                <a:spcPct val="0"/>
              </a:spcAft>
              <a:buClr>
                <a:schemeClr val="dk1"/>
              </a:buClr>
              <a:buSzPts val="2400"/>
              <a:buFont typeface="Calibri" panose="020F0502020204030204"/>
              <a:buChar char="•"/>
              <a:defRPr sz="2400" b="0" i="0" u="none" strike="noStrike" cap="none">
                <a:solidFill>
                  <a:schemeClr val="dk1"/>
                </a:solidFill>
                <a:latin typeface="Calibri" panose="020F0502020204030204"/>
                <a:ea typeface="Calibri"/>
                <a:cs typeface="Calibri"/>
                <a:sym typeface="Calibri" panose="020F0502020204030204"/>
              </a:defRPr>
            </a:lvl3pPr>
            <a:lvl4pPr marL="1600200" marR="0" lvl="3" indent="-101600" algn="l" rtl="0">
              <a:spcBef>
                <a:spcPts val="400"/>
              </a:spcBef>
              <a:spcAft>
                <a:spcPct val="0"/>
              </a:spcAft>
              <a:buClr>
                <a:schemeClr val="dk1"/>
              </a:buClr>
              <a:buSzPts val="2000"/>
              <a:buFont typeface="Calibri" panose="020F0502020204030204"/>
              <a:buChar char="–"/>
              <a:defRPr sz="2000" b="0" i="0" u="none" strike="noStrike" cap="none">
                <a:solidFill>
                  <a:schemeClr val="dk1"/>
                </a:solidFill>
                <a:latin typeface="Calibri" panose="020F0502020204030204"/>
                <a:ea typeface="Calibri"/>
                <a:cs typeface="Calibri"/>
                <a:sym typeface="Calibri" panose="020F0502020204030204"/>
              </a:defRPr>
            </a:lvl4pPr>
            <a:lvl5pPr marL="2057400" marR="0" lvl="4" indent="-101600" algn="l" rtl="0">
              <a:spcBef>
                <a:spcPts val="400"/>
              </a:spcBef>
              <a:spcAft>
                <a:spcPct val="0"/>
              </a:spcAft>
              <a:buClr>
                <a:schemeClr val="dk1"/>
              </a:buClr>
              <a:buSzPts val="2000"/>
              <a:buFont typeface="Calibri" panose="020F0502020204030204"/>
              <a:buChar char="»"/>
              <a:defRPr sz="2000" b="0" i="0" u="none" strike="noStrike" cap="none">
                <a:solidFill>
                  <a:schemeClr val="dk1"/>
                </a:solidFill>
                <a:latin typeface="Calibri" panose="020F0502020204030204"/>
                <a:ea typeface="Calibri"/>
                <a:cs typeface="Calibri"/>
                <a:sym typeface="Calibri" panose="020F0502020204030204"/>
              </a:defRPr>
            </a:lvl5pPr>
            <a:lvl6pPr marL="2514600" marR="0" lvl="5" indent="-101600" algn="l" rtl="0">
              <a:spcBef>
                <a:spcPts val="400"/>
              </a:spcBef>
              <a:spcAft>
                <a:spcPct val="0"/>
              </a:spcAft>
              <a:buClr>
                <a:schemeClr val="dk1"/>
              </a:buClr>
              <a:buSzPts val="2000"/>
              <a:buFont typeface="Calibri" panose="020F0502020204030204"/>
              <a:buChar char="»"/>
              <a:defRPr sz="2000" b="0" i="0" u="none" strike="noStrike" cap="none">
                <a:solidFill>
                  <a:schemeClr val="dk1"/>
                </a:solidFill>
                <a:latin typeface="Calibri" panose="020F0502020204030204"/>
                <a:ea typeface="Calibri"/>
                <a:cs typeface="Calibri"/>
                <a:sym typeface="Calibri" panose="020F0502020204030204"/>
              </a:defRPr>
            </a:lvl6pPr>
            <a:lvl7pPr marL="2971800" marR="0" lvl="6" indent="-101600" algn="l" rtl="0">
              <a:spcBef>
                <a:spcPts val="400"/>
              </a:spcBef>
              <a:spcAft>
                <a:spcPct val="0"/>
              </a:spcAft>
              <a:buClr>
                <a:schemeClr val="dk1"/>
              </a:buClr>
              <a:buSzPts val="2000"/>
              <a:buFont typeface="Calibri" panose="020F0502020204030204"/>
              <a:buChar char="»"/>
              <a:defRPr sz="2000" b="0" i="0" u="none" strike="noStrike" cap="none">
                <a:solidFill>
                  <a:schemeClr val="dk1"/>
                </a:solidFill>
                <a:latin typeface="Calibri" panose="020F0502020204030204"/>
                <a:ea typeface="Calibri"/>
                <a:cs typeface="Calibri"/>
                <a:sym typeface="Calibri" panose="020F0502020204030204"/>
              </a:defRPr>
            </a:lvl7pPr>
            <a:lvl8pPr marL="3429000" marR="0" lvl="7" indent="-101600" algn="l" rtl="0">
              <a:spcBef>
                <a:spcPts val="400"/>
              </a:spcBef>
              <a:spcAft>
                <a:spcPct val="0"/>
              </a:spcAft>
              <a:buClr>
                <a:schemeClr val="dk1"/>
              </a:buClr>
              <a:buSzPts val="2000"/>
              <a:buFont typeface="Calibri" panose="020F0502020204030204"/>
              <a:buChar char="»"/>
              <a:defRPr sz="2000" b="0" i="0" u="none" strike="noStrike" cap="none">
                <a:solidFill>
                  <a:schemeClr val="dk1"/>
                </a:solidFill>
                <a:latin typeface="Calibri" panose="020F0502020204030204"/>
                <a:ea typeface="Calibri"/>
                <a:cs typeface="Calibri"/>
                <a:sym typeface="Calibri" panose="020F0502020204030204"/>
              </a:defRPr>
            </a:lvl8pPr>
            <a:lvl9pPr marL="3886200" marR="0" lvl="8" indent="-101600" algn="l" rtl="0">
              <a:spcBef>
                <a:spcPts val="400"/>
              </a:spcBef>
              <a:spcAft>
                <a:spcPct val="0"/>
              </a:spcAft>
              <a:buClr>
                <a:schemeClr val="dk1"/>
              </a:buClr>
              <a:buSzPts val="2000"/>
              <a:buFont typeface="Calibri" panose="020F0502020204030204"/>
              <a:buChar char="»"/>
              <a:defRPr sz="2000" b="0" i="0" u="none" strike="noStrike" cap="none">
                <a:solidFill>
                  <a:schemeClr val="dk1"/>
                </a:solidFill>
                <a:latin typeface="Calibri" panose="020F0502020204030204"/>
                <a:ea typeface="Calibri"/>
                <a:cs typeface="Calibri"/>
                <a:sym typeface="Calibri" panose="020F0502020204030204"/>
              </a:defRPr>
            </a:lvl9pPr>
          </a:lstStyle>
          <a:p>
            <a:endParaRPr/>
          </a:p>
        </p:txBody>
      </p:sp>
    </p:spTree>
    <p:extLst>
      <p:ext uri="{BB962C8B-B14F-4D97-AF65-F5344CB8AC3E}">
        <p14:creationId xmlns:p14="http://schemas.microsoft.com/office/powerpoint/2010/main" val="71913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3446629133"/>
      </p:ext>
    </p:extLst>
  </p:cSld>
  <p:clrMapOvr>
    <a:overrideClrMapping bg1="lt1" tx1="dk1" bg2="lt2" tx2="dk2" accent1="accent1" accent2="accent2" accent3="accent3" accent4="accent4" accent5="accent5" accent6="accent6" hlink="hlink" folHlink="folHlink"/>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27/11/2022</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731946070"/>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6826706"/>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358863558"/>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a:solidFill>
                  <a:schemeClr val="bg1"/>
                </a:solidFill>
                <a:latin typeface="+mj-lt"/>
                <a:ea typeface="+mn-ea"/>
                <a:cs typeface="Times New Roman" panose="02020603050405020304" pitchFamily="18" charset="0"/>
              </a:defRPr>
            </a:lvl1pPr>
            <a:lvl2pPr>
              <a:defRPr lang="en-US" smtClean="0">
                <a:solidFill>
                  <a:schemeClr val="bg1"/>
                </a:solidFill>
              </a:defRPr>
            </a:lvl2pPr>
            <a:lvl3pPr>
              <a:defRPr lang="en-US" smtClean="0">
                <a:solidFill>
                  <a:schemeClr val="bg1"/>
                </a:solidFill>
              </a:defRPr>
            </a:lvl3pPr>
            <a:lvl4pPr>
              <a:defRPr lang="en-US" smtClean="0">
                <a:solidFill>
                  <a:schemeClr val="bg1"/>
                </a:solidFill>
              </a:defRPr>
            </a:lvl4pPr>
            <a:lvl5pPr>
              <a:defRPr lang="en-US">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31426440"/>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28876631"/>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81816906"/>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6954454"/>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27/11/2022</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6971551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10;&#10;Description automatically generated">
            <a:extLst>
              <a:ext uri="{FF2B5EF4-FFF2-40B4-BE49-F238E27FC236}">
                <a16:creationId xmlns:a16="http://schemas.microsoft.com/office/drawing/2014/main" id="{73800FA6-FC7C-AB42-A87D-12B4DF670B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388912792"/>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t>27/11/2022</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372804683"/>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t>27/11/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2259375787"/>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t>27/11/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ct val="0"/>
              </a:spcBef>
              <a:spcAft>
                <a:spcPct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52473958"/>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t>27/11/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002920247"/>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65970373"/>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pic>
        <p:nvPicPr>
          <p:cNvPr id="2" name="Picture 2" descr="WHO-EN-white-H"/>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954799" y="5445508"/>
            <a:ext cx="4302313" cy="1049650"/>
          </a:xfrm>
          <a:prstGeom prst="rect">
            <a:avLst/>
          </a:prstGeom>
          <a:noFill/>
          <a:ln>
            <a:noFill/>
          </a:ln>
          <a:extLst>
            <a:ext uri="{909E8E84-426E-40dd-AFC4-6F175D3DCCD1}">
              <a14:hiddenFill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solidFill>
                  <a:srgbClr val="FFFFFF"/>
                </a:solidFill>
              </a14:hiddenFill>
            </a:ex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a:solidFill>
                  <a:srgbClr val="000000"/>
                </a:solidFill>
                <a:miter lim="800000"/>
                <a:headEnd/>
                <a:tailEnd/>
              </a14:hiddenLine>
            </a:ext>
          </a:extLst>
        </p:spPr>
      </p:pic>
    </p:spTree>
    <p:extLst>
      <p:ext uri="{BB962C8B-B14F-4D97-AF65-F5344CB8AC3E}">
        <p14:creationId xmlns:p14="http://schemas.microsoft.com/office/powerpoint/2010/main" val="3908985029"/>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332132"/>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08" y="4407378"/>
            <a:ext cx="10363924" cy="1362097"/>
          </a:xfrm>
        </p:spPr>
        <p:txBody>
          <a:bodyPr anchor="t"/>
          <a:lstStyle>
            <a:lvl1pPr algn="l">
              <a:defRPr sz="3628" b="1" cap="all"/>
            </a:lvl1pPr>
          </a:lstStyle>
          <a:p>
            <a:r>
              <a:rPr lang="en-US"/>
              <a:t>Click to edit Master title style</a:t>
            </a:r>
          </a:p>
        </p:txBody>
      </p:sp>
      <p:sp>
        <p:nvSpPr>
          <p:cNvPr id="3" name="Text Placeholder 2"/>
          <p:cNvSpPr>
            <a:spLocks noGrp="1"/>
          </p:cNvSpPr>
          <p:nvPr>
            <p:ph type="body" idx="1"/>
          </p:nvPr>
        </p:nvSpPr>
        <p:spPr>
          <a:xfrm>
            <a:off x="962908" y="2907056"/>
            <a:ext cx="10363924" cy="1500322"/>
          </a:xfrm>
        </p:spPr>
        <p:txBody>
          <a:bodyPr anchor="b"/>
          <a:lstStyle>
            <a:lvl1pPr marL="0" indent="0">
              <a:buNone/>
              <a:defRPr sz="1814"/>
            </a:lvl1pPr>
            <a:lvl2pPr marL="414680" indent="0">
              <a:buNone/>
              <a:defRPr sz="1633"/>
            </a:lvl2pPr>
            <a:lvl3pPr marL="829361" indent="0">
              <a:buNone/>
              <a:defRPr sz="1451"/>
            </a:lvl3pPr>
            <a:lvl4pPr marL="1244041" indent="0">
              <a:buNone/>
              <a:defRPr sz="1270"/>
            </a:lvl4pPr>
            <a:lvl5pPr marL="1658722" indent="0">
              <a:buNone/>
              <a:defRPr sz="1270"/>
            </a:lvl5pPr>
            <a:lvl6pPr marL="2073402" indent="0">
              <a:buNone/>
              <a:defRPr sz="1270"/>
            </a:lvl6pPr>
            <a:lvl7pPr marL="2488082" indent="0">
              <a:buNone/>
              <a:defRPr sz="1270"/>
            </a:lvl7pPr>
            <a:lvl8pPr marL="2902763" indent="0">
              <a:buNone/>
              <a:defRPr sz="1270"/>
            </a:lvl8pPr>
            <a:lvl9pPr marL="3317443" indent="0">
              <a:buNone/>
              <a:defRPr sz="1270"/>
            </a:lvl9pPr>
          </a:lstStyle>
          <a:p>
            <a:pPr lvl="0"/>
            <a:r>
              <a:rPr lang="en-US"/>
              <a:t>Edit Master text styles</a:t>
            </a:r>
          </a:p>
        </p:txBody>
      </p:sp>
    </p:spTree>
    <p:extLst>
      <p:ext uri="{BB962C8B-B14F-4D97-AF65-F5344CB8AC3E}">
        <p14:creationId xmlns:p14="http://schemas.microsoft.com/office/powerpoint/2010/main" val="376702092"/>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0053" y="1380815"/>
            <a:ext cx="5440789" cy="4611835"/>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4599" y="1380815"/>
            <a:ext cx="5440789" cy="4611835"/>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5042668"/>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63" y="275012"/>
            <a:ext cx="10972076"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63" y="1534879"/>
            <a:ext cx="5386489"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4" name="Content Placeholder 3"/>
          <p:cNvSpPr>
            <a:spLocks noGrp="1"/>
          </p:cNvSpPr>
          <p:nvPr>
            <p:ph sz="half" idx="2"/>
          </p:nvPr>
        </p:nvSpPr>
        <p:spPr>
          <a:xfrm>
            <a:off x="609963" y="2174172"/>
            <a:ext cx="5386489"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739" y="1534879"/>
            <a:ext cx="5388300"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6" name="Content Placeholder 5"/>
          <p:cNvSpPr>
            <a:spLocks noGrp="1"/>
          </p:cNvSpPr>
          <p:nvPr>
            <p:ph sz="quarter" idx="4"/>
          </p:nvPr>
        </p:nvSpPr>
        <p:spPr>
          <a:xfrm>
            <a:off x="6193739" y="2174172"/>
            <a:ext cx="5388300"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7978874"/>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13" name="Picture 12" descr="A close-up of a baby's hand&#10;&#10;Description automatically generated with medium confidence">
            <a:extLst>
              <a:ext uri="{FF2B5EF4-FFF2-40B4-BE49-F238E27FC236}">
                <a16:creationId xmlns:a16="http://schemas.microsoft.com/office/drawing/2014/main" id="{B8D41AEF-EA26-8C49-899F-93C4E7FB5E1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F8E01F7A-65E8-CD47-B9F0-D4191CB2525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053053294"/>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1284413"/>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0023957"/>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63" y="273572"/>
            <a:ext cx="4010907" cy="1161958"/>
          </a:xfrm>
        </p:spPr>
        <p:txBody>
          <a:bodyPr anchor="b"/>
          <a:lstStyle>
            <a:lvl1pPr algn="l">
              <a:defRPr sz="1814" b="1"/>
            </a:lvl1pPr>
          </a:lstStyle>
          <a:p>
            <a:r>
              <a:rPr lang="en-US"/>
              <a:t>Click to edit Master title style</a:t>
            </a:r>
          </a:p>
        </p:txBody>
      </p:sp>
      <p:sp>
        <p:nvSpPr>
          <p:cNvPr id="3" name="Content Placeholder 2"/>
          <p:cNvSpPr>
            <a:spLocks noGrp="1"/>
          </p:cNvSpPr>
          <p:nvPr>
            <p:ph idx="1"/>
          </p:nvPr>
        </p:nvSpPr>
        <p:spPr>
          <a:xfrm>
            <a:off x="4767478" y="273571"/>
            <a:ext cx="6814561" cy="5852986"/>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963" y="1435530"/>
            <a:ext cx="4010907" cy="4691027"/>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en-US"/>
              <a:t>Edit Master text styles</a:t>
            </a:r>
          </a:p>
        </p:txBody>
      </p:sp>
    </p:spTree>
    <p:extLst>
      <p:ext uri="{BB962C8B-B14F-4D97-AF65-F5344CB8AC3E}">
        <p14:creationId xmlns:p14="http://schemas.microsoft.com/office/powerpoint/2010/main" val="1007041583"/>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69" y="4800456"/>
            <a:ext cx="7315924" cy="567300"/>
          </a:xfrm>
        </p:spPr>
        <p:txBody>
          <a:bodyPr anchor="b"/>
          <a:lstStyle>
            <a:lvl1pPr algn="l">
              <a:defRPr sz="1814" b="1"/>
            </a:lvl1pPr>
          </a:lstStyle>
          <a:p>
            <a:r>
              <a:rPr lang="en-US"/>
              <a:t>Click to edit Master title style</a:t>
            </a:r>
          </a:p>
        </p:txBody>
      </p:sp>
      <p:sp>
        <p:nvSpPr>
          <p:cNvPr id="3" name="Picture Placeholder 2"/>
          <p:cNvSpPr>
            <a:spLocks noGrp="1"/>
          </p:cNvSpPr>
          <p:nvPr>
            <p:ph type="pic" idx="1"/>
          </p:nvPr>
        </p:nvSpPr>
        <p:spPr>
          <a:xfrm>
            <a:off x="2389169" y="613376"/>
            <a:ext cx="7315924" cy="411364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pPr lvl="0"/>
            <a:r>
              <a:rPr lang="en-US" noProof="0"/>
              <a:t>Click icon to add picture</a:t>
            </a:r>
          </a:p>
        </p:txBody>
      </p:sp>
      <p:sp>
        <p:nvSpPr>
          <p:cNvPr id="4" name="Text Placeholder 3"/>
          <p:cNvSpPr>
            <a:spLocks noGrp="1"/>
          </p:cNvSpPr>
          <p:nvPr>
            <p:ph type="body" sz="half" idx="2"/>
          </p:nvPr>
        </p:nvSpPr>
        <p:spPr>
          <a:xfrm>
            <a:off x="2389169" y="5367757"/>
            <a:ext cx="7315924" cy="804876"/>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en-US"/>
              <a:t>Edit Master text styles</a:t>
            </a:r>
          </a:p>
        </p:txBody>
      </p:sp>
    </p:spTree>
    <p:extLst>
      <p:ext uri="{BB962C8B-B14F-4D97-AF65-F5344CB8AC3E}">
        <p14:creationId xmlns:p14="http://schemas.microsoft.com/office/powerpoint/2010/main" val="1986848289"/>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4129204"/>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1"/>
            <a:ext cx="3048000" cy="5992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8970242" cy="5992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5684603"/>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238270"/>
          </a:xfrm>
        </p:spPr>
        <p:txBody>
          <a:bodyPr/>
          <a:lstStyle/>
          <a:p>
            <a:r>
              <a:rPr lang="en-US"/>
              <a:t>Click to edit Master title style</a:t>
            </a:r>
          </a:p>
        </p:txBody>
      </p:sp>
      <p:sp>
        <p:nvSpPr>
          <p:cNvPr id="3" name="Table Placeholder 2"/>
          <p:cNvSpPr>
            <a:spLocks noGrp="1"/>
          </p:cNvSpPr>
          <p:nvPr>
            <p:ph type="tbl" idx="1"/>
          </p:nvPr>
        </p:nvSpPr>
        <p:spPr>
          <a:xfrm>
            <a:off x="590052" y="1380815"/>
            <a:ext cx="11055335" cy="4611835"/>
          </a:xfrm>
        </p:spPr>
        <p:txBody>
          <a:bodyPr/>
          <a:lstStyle/>
          <a:p>
            <a:pPr lvl="0"/>
            <a:r>
              <a:rPr lang="en-US" noProof="0"/>
              <a:t>Click icon to add table</a:t>
            </a:r>
          </a:p>
        </p:txBody>
      </p:sp>
    </p:spTree>
    <p:extLst>
      <p:ext uri="{BB962C8B-B14F-4D97-AF65-F5344CB8AC3E}">
        <p14:creationId xmlns:p14="http://schemas.microsoft.com/office/powerpoint/2010/main" val="2186590261"/>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1"/>
            <a:ext cx="12192000" cy="5992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810724"/>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4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a:t>[TITLE]</a:t>
            </a:r>
            <a:endParaRPr lang="en-GB"/>
          </a:p>
        </p:txBody>
      </p:sp>
      <p:sp>
        <p:nvSpPr>
          <p:cNvPr id="4" name="Content Placeholder 3"/>
          <p:cNvSpPr>
            <a:spLocks noGrp="1"/>
          </p:cNvSpPr>
          <p:nvPr>
            <p:ph sz="half" idx="2"/>
          </p:nvPr>
        </p:nvSpPr>
        <p:spPr>
          <a:xfrm>
            <a:off x="541167" y="1600203"/>
            <a:ext cx="11041080" cy="2263140"/>
          </a:xfrm>
        </p:spPr>
        <p:txBody>
          <a:bodyPr/>
          <a:lstStyle>
            <a:lvl1pPr>
              <a:defRPr sz="1100"/>
            </a:lvl1pPr>
            <a:lvl2pPr>
              <a:defRPr sz="1100"/>
            </a:lvl2pPr>
            <a:lvl3pPr>
              <a:defRPr sz="900"/>
            </a:lvl3pPr>
            <a:lvl4pPr>
              <a:defRPr sz="800"/>
            </a:lvl4pPr>
            <a:lvl5pPr>
              <a:defRPr sz="800"/>
            </a:lvl5pPr>
            <a:lvl6pPr>
              <a:defRPr sz="800"/>
            </a:lvl6pPr>
            <a:lvl7pPr>
              <a:defRPr sz="800"/>
            </a:lvl7pPr>
            <a:lvl8pPr>
              <a:defRPr sz="800"/>
            </a:lvl8pPr>
            <a:lvl9pPr>
              <a:defRPr sz="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3"/>
          <p:cNvSpPr>
            <a:spLocks noGrp="1"/>
          </p:cNvSpPr>
          <p:nvPr>
            <p:ph sz="half" idx="10"/>
          </p:nvPr>
        </p:nvSpPr>
        <p:spPr>
          <a:xfrm>
            <a:off x="536720" y="3939545"/>
            <a:ext cx="11041080" cy="2263140"/>
          </a:xfrm>
        </p:spPr>
        <p:txBody>
          <a:bodyPr/>
          <a:lstStyle>
            <a:lvl1pPr>
              <a:defRPr sz="1100"/>
            </a:lvl1pPr>
            <a:lvl2pPr>
              <a:defRPr sz="1100"/>
            </a:lvl2pPr>
            <a:lvl3pPr>
              <a:defRPr sz="900"/>
            </a:lvl3pPr>
            <a:lvl4pPr>
              <a:defRPr sz="800"/>
            </a:lvl4pPr>
            <a:lvl5pPr>
              <a:defRPr sz="800"/>
            </a:lvl5pPr>
            <a:lvl6pPr>
              <a:defRPr sz="800"/>
            </a:lvl6pPr>
            <a:lvl7pPr>
              <a:defRPr sz="800"/>
            </a:lvl7pPr>
            <a:lvl8pPr>
              <a:defRPr sz="800"/>
            </a:lvl8pPr>
            <a:lvl9pPr>
              <a:defRPr sz="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9765866"/>
      </p:ext>
    </p:extLst>
  </p:cSld>
  <p:clrMapOvr>
    <a:masterClrMapping/>
  </p:clrMapOvr>
  <mc:AlternateContent xmlns:mc="http://schemas.openxmlformats.org/markup-compatibility/2006" xmlns:p14="http://schemas.microsoft.com/office/powerpoint/2010/main">
    <mc:Choice Requires="p14">
      <p:transition p14:dur="0" advClick="0"/>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C8326CA-719A-4EF5-8682-E21B22120383}"/>
              </a:ext>
            </a:extLst>
          </p:cNvPr>
          <p:cNvSpPr/>
          <p:nvPr userDrawn="1"/>
        </p:nvSpPr>
        <p:spPr bwMode="auto">
          <a:xfrm>
            <a:off x="0" y="1014153"/>
            <a:ext cx="12192000" cy="432262"/>
          </a:xfrm>
          <a:prstGeom prst="rect">
            <a:avLst/>
          </a:prstGeom>
          <a:solidFill>
            <a:schemeClr val="bg1"/>
          </a:solidFill>
          <a:ln>
            <a:noFill/>
          </a:ln>
          <a:effectLst/>
          <a:extLs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effectLst>
                  <a:outerShdw dist="35921" dir="2700000" algn="ctr" rotWithShape="0">
                    <a:schemeClr val="bg2"/>
                  </a:outerShdw>
                </a:effectLst>
              </a14:hiddenEffects>
            </a:ext>
          </a:extLst>
        </p:spPr>
        <p:txBody>
          <a:bodyPr vert="horz" wrap="square" lIns="104306" tIns="52153" rIns="104306" bIns="52153" numCol="1" rtlCol="0" anchor="t" anchorCtr="0" compatLnSpc="1">
            <a:prstTxWarp prst="textNoShape">
              <a:avLst/>
            </a:prstTxWarp>
            <a:spAutoFit/>
          </a:bodyPr>
          <a:lstStyle/>
          <a:p>
            <a:pPr marL="0" marR="0" indent="0" algn="ctr" defTabSz="1042988" rtl="0" eaLnBrk="1" fontAlgn="base" latinLnBrk="0" hangingPunct="1">
              <a:lnSpc>
                <a:spcPct val="100000"/>
              </a:lnSpc>
              <a:spcBef>
                <a:spcPct val="50000"/>
              </a:spcBef>
              <a:spcAft>
                <a:spcPct val="0"/>
              </a:spcAft>
              <a:buClrTx/>
              <a:buSzTx/>
              <a:buFontTx/>
              <a:buNone/>
            </a:pPr>
            <a:endParaRPr kumimoji="0" lang="en-US" sz="2700" b="0" i="0" u="none" strike="noStrike" cap="none" normalizeH="0" baseline="0">
              <a:ln>
                <a:noFill/>
              </a:ln>
              <a:solidFill>
                <a:schemeClr val="tx1"/>
              </a:solidFill>
              <a:effectLst/>
              <a:latin typeface="Times New Roman" panose="02020603050405020304" pitchFamily="18" charset="0"/>
              <a:cs typeface="Arial"/>
            </a:endParaRPr>
          </a:p>
        </p:txBody>
      </p:sp>
    </p:spTree>
    <p:extLst>
      <p:ext uri="{BB962C8B-B14F-4D97-AF65-F5344CB8AC3E}">
        <p14:creationId xmlns:p14="http://schemas.microsoft.com/office/powerpoint/2010/main" val="1815739404"/>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9.xml"/><Relationship Id="rId18" Type="http://schemas.openxmlformats.org/officeDocument/2006/relationships/tags" Target="../tags/tag150.xml"/><Relationship Id="rId26" Type="http://schemas.openxmlformats.org/officeDocument/2006/relationships/tags" Target="../tags/tag158.xml"/><Relationship Id="rId39" Type="http://schemas.openxmlformats.org/officeDocument/2006/relationships/image" Target="../media/image17.emf"/><Relationship Id="rId21" Type="http://schemas.openxmlformats.org/officeDocument/2006/relationships/tags" Target="../tags/tag153.xml"/><Relationship Id="rId34" Type="http://schemas.openxmlformats.org/officeDocument/2006/relationships/tags" Target="../tags/tag166.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theme" Target="../theme/theme10.xml"/><Relationship Id="rId25" Type="http://schemas.openxmlformats.org/officeDocument/2006/relationships/tags" Target="../tags/tag157.xml"/><Relationship Id="rId33" Type="http://schemas.openxmlformats.org/officeDocument/2006/relationships/tags" Target="../tags/tag165.xml"/><Relationship Id="rId38" Type="http://schemas.openxmlformats.org/officeDocument/2006/relationships/oleObject" Target="../embeddings/oleObject22.bin"/><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ags" Target="../tags/tag152.xml"/><Relationship Id="rId29" Type="http://schemas.openxmlformats.org/officeDocument/2006/relationships/tags" Target="../tags/tag161.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tags" Target="../tags/tag156.xml"/><Relationship Id="rId32" Type="http://schemas.openxmlformats.org/officeDocument/2006/relationships/tags" Target="../tags/tag164.xml"/><Relationship Id="rId37" Type="http://schemas.openxmlformats.org/officeDocument/2006/relationships/tags" Target="../tags/tag169.xml"/><Relationship Id="rId40" Type="http://schemas.openxmlformats.org/officeDocument/2006/relationships/image" Target="../media/image16.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tags" Target="../tags/tag155.xml"/><Relationship Id="rId28" Type="http://schemas.openxmlformats.org/officeDocument/2006/relationships/tags" Target="../tags/tag160.xml"/><Relationship Id="rId36" Type="http://schemas.openxmlformats.org/officeDocument/2006/relationships/tags" Target="../tags/tag168.xml"/><Relationship Id="rId10" Type="http://schemas.openxmlformats.org/officeDocument/2006/relationships/slideLayout" Target="../slideLayouts/slideLayout166.xml"/><Relationship Id="rId19" Type="http://schemas.openxmlformats.org/officeDocument/2006/relationships/tags" Target="../tags/tag151.xml"/><Relationship Id="rId31" Type="http://schemas.openxmlformats.org/officeDocument/2006/relationships/tags" Target="../tags/tag163.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tags" Target="../tags/tag154.xml"/><Relationship Id="rId27" Type="http://schemas.openxmlformats.org/officeDocument/2006/relationships/tags" Target="../tags/tag159.xml"/><Relationship Id="rId30" Type="http://schemas.openxmlformats.org/officeDocument/2006/relationships/tags" Target="../tags/tag162.xml"/><Relationship Id="rId35" Type="http://schemas.openxmlformats.org/officeDocument/2006/relationships/tags" Target="../tags/tag167.xml"/><Relationship Id="rId8" Type="http://schemas.openxmlformats.org/officeDocument/2006/relationships/slideLayout" Target="../slideLayouts/slideLayout164.xml"/><Relationship Id="rId3" Type="http://schemas.openxmlformats.org/officeDocument/2006/relationships/slideLayout" Target="../slideLayouts/slideLayout1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20.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9.png"/><Relationship Id="rId2" Type="http://schemas.openxmlformats.org/officeDocument/2006/relationships/slideLayout" Target="../slideLayouts/slideLayout42.xml"/><Relationship Id="rId16"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2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23.png"/><Relationship Id="rId2" Type="http://schemas.openxmlformats.org/officeDocument/2006/relationships/slideLayout" Target="../slideLayouts/slideLayout57.xml"/><Relationship Id="rId16" Type="http://schemas.openxmlformats.org/officeDocument/2006/relationships/theme" Target="../theme/theme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image" Target="../media/image20.png"/><Relationship Id="rId2" Type="http://schemas.openxmlformats.org/officeDocument/2006/relationships/slideLayout" Target="../slideLayouts/slideLayout72.xml"/><Relationship Id="rId16" Type="http://schemas.openxmlformats.org/officeDocument/2006/relationships/image" Target="../media/image23.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24.wmf"/><Relationship Id="rId2" Type="http://schemas.openxmlformats.org/officeDocument/2006/relationships/slideLayout" Target="../slideLayouts/slideLayout86.xml"/><Relationship Id="rId16" Type="http://schemas.openxmlformats.org/officeDocument/2006/relationships/theme" Target="../theme/theme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25.jpeg"/><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image" Target="../media/image20.png"/><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image" Target="../media/image27.png"/><Relationship Id="rId2" Type="http://schemas.openxmlformats.org/officeDocument/2006/relationships/slideLayout" Target="../slideLayouts/slideLayout127.xml"/><Relationship Id="rId16" Type="http://schemas.openxmlformats.org/officeDocument/2006/relationships/theme" Target="../theme/theme8.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tags" Target="../tags/tag29.xml"/><Relationship Id="rId26" Type="http://schemas.openxmlformats.org/officeDocument/2006/relationships/tags" Target="../tags/tag37.xml"/><Relationship Id="rId39" Type="http://schemas.openxmlformats.org/officeDocument/2006/relationships/image" Target="../media/image17.emf"/><Relationship Id="rId21" Type="http://schemas.openxmlformats.org/officeDocument/2006/relationships/tags" Target="../tags/tag32.xml"/><Relationship Id="rId34" Type="http://schemas.openxmlformats.org/officeDocument/2006/relationships/tags" Target="../tags/tag45.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theme" Target="../theme/theme9.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oleObject" Target="../embeddings/oleObject5.bin"/><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ags" Target="../tags/tag31.xml"/><Relationship Id="rId29" Type="http://schemas.openxmlformats.org/officeDocument/2006/relationships/tags" Target="../tags/tag40.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tags" Target="../tags/tag48.xml"/><Relationship Id="rId40" Type="http://schemas.openxmlformats.org/officeDocument/2006/relationships/image" Target="../media/image24.wmf"/><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10" Type="http://schemas.openxmlformats.org/officeDocument/2006/relationships/slideLayout" Target="../slideLayouts/slideLayout150.xml"/><Relationship Id="rId19" Type="http://schemas.openxmlformats.org/officeDocument/2006/relationships/tags" Target="../tags/tag30.xml"/><Relationship Id="rId31" Type="http://schemas.openxmlformats.org/officeDocument/2006/relationships/tags" Target="../tags/tag42.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8" Type="http://schemas.openxmlformats.org/officeDocument/2006/relationships/slideLayout" Target="../slideLayouts/slideLayout148.xml"/><Relationship Id="rId3"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t>‹#›</a:t>
            </a:fld>
            <a:endParaRPr lang="en-US"/>
          </a:p>
        </p:txBody>
      </p:sp>
    </p:spTree>
    <p:extLst>
      <p:ext uri="{BB962C8B-B14F-4D97-AF65-F5344CB8AC3E}">
        <p14:creationId xmlns:p14="http://schemas.microsoft.com/office/powerpoint/2010/main" val="1415773443"/>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5" r:id="rId3"/>
    <p:sldLayoutId id="2147483649" r:id="rId4"/>
    <p:sldLayoutId id="2147483658" r:id="rId5"/>
    <p:sldLayoutId id="2147483667" r:id="rId6"/>
    <p:sldLayoutId id="2147483660" r:id="rId7"/>
    <p:sldLayoutId id="2147483662" r:id="rId8"/>
    <p:sldLayoutId id="2147483669" r:id="rId9"/>
    <p:sldLayoutId id="2147483670" r:id="rId10"/>
    <p:sldLayoutId id="2147483671" r:id="rId11"/>
    <p:sldLayoutId id="2147483678" r:id="rId12"/>
    <p:sldLayoutId id="2147483681" r:id="rId13"/>
    <p:sldLayoutId id="2147483687" r:id="rId14"/>
    <p:sldLayoutId id="2147483680" r:id="rId15"/>
    <p:sldLayoutId id="2147483679" r:id="rId16"/>
    <p:sldLayoutId id="2147483689" r:id="rId17"/>
    <p:sldLayoutId id="2147483694" r:id="rId18"/>
    <p:sldLayoutId id="2147483677" r:id="rId19"/>
    <p:sldLayoutId id="2147483692" r:id="rId20"/>
    <p:sldLayoutId id="2147483693" r:id="rId21"/>
    <p:sldLayoutId id="2147483650" r:id="rId22"/>
    <p:sldLayoutId id="2147483690" r:id="rId23"/>
    <p:sldLayoutId id="2147483676" r:id="rId24"/>
    <p:sldLayoutId id="2147483654" r:id="rId25"/>
    <p:sldLayoutId id="2147483691" r:id="rId26"/>
    <p:sldLayoutId id="2147483666" r:id="rId27"/>
    <p:sldLayoutId id="2147483674" r:id="rId28"/>
    <p:sldLayoutId id="2147483683" r:id="rId29"/>
    <p:sldLayoutId id="2147483675" r:id="rId30"/>
    <p:sldLayoutId id="2147483684" r:id="rId31"/>
    <p:sldLayoutId id="2147483652" r:id="rId32"/>
    <p:sldLayoutId id="2147483653" r:id="rId33"/>
    <p:sldLayoutId id="2147483656" r:id="rId34"/>
    <p:sldLayoutId id="2147483657" r:id="rId35"/>
    <p:sldLayoutId id="2147483685" r:id="rId36"/>
    <p:sldLayoutId id="2147483686" r:id="rId37"/>
    <p:sldLayoutId id="2147483823" r:id="rId38"/>
    <p:sldLayoutId id="2147483824" r:id="rId39"/>
    <p:sldLayoutId id="2147483825" r:id="rId40"/>
  </p:sldLayoutIdLst>
  <p:transition/>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423162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0" name="OLE substitute imag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ct val="0"/>
              </a:spcBef>
              <a:spcAft>
                <a:spcPct val="0"/>
              </a:spcAft>
              <a:buClrTx/>
              <a:buSzTx/>
              <a:buFontTx/>
              <a:buNone/>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flipH="1">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flipH="1">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flipH="1">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flipH="1">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flipH="1">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flipH="1">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flipH="1">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flipH="1">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flipH="1">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flipH="1">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flipH="1">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flipH="1">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ct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ct val="0"/>
              </a:spcBef>
              <a:spcAft>
                <a:spcPts val="300"/>
              </a:spcAft>
              <a:buSzPct val="110000"/>
              <a:buFont typeface="Wingdings" panose="05000000000000000000" pitchFamily="2" charset="2"/>
              <a:buChar char=""/>
              <a:defRPr sz="1600"/>
            </a:lvl2pPr>
            <a:lvl3pPr marL="442913" lvl="2" indent="-214313">
              <a:lnSpc>
                <a:spcPct val="100000"/>
              </a:lnSpc>
              <a:spcBef>
                <a:spcPct val="0"/>
              </a:spcBef>
              <a:spcAft>
                <a:spcPts val="300"/>
              </a:spcAft>
              <a:buSzPct val="110000"/>
              <a:buFont typeface="Arial" panose="020B0604020202020204" pitchFamily="34" charset="0"/>
              <a:buChar char="‒"/>
              <a:defRPr sz="1600"/>
            </a:lvl3pPr>
            <a:lvl4pPr marL="598488" lvl="3" indent="-152400">
              <a:lnSpc>
                <a:spcPct val="100000"/>
              </a:lnSpc>
              <a:spcBef>
                <a:spcPct val="0"/>
              </a:spcBef>
              <a:spcAft>
                <a:spcPts val="300"/>
              </a:spcAft>
              <a:buFont typeface="Arial" panose="020B0604020202020204" pitchFamily="34" charset="0"/>
              <a:buChar char="•"/>
              <a:defRPr sz="1600"/>
            </a:lvl4pPr>
            <a:lvl5pPr marL="817563" lvl="4" indent="-147638">
              <a:lnSpc>
                <a:spcPct val="100000"/>
              </a:lnSpc>
              <a:spcBef>
                <a:spcPct val="0"/>
              </a:spcBef>
              <a:spcAft>
                <a:spcPts val="300"/>
              </a:spcAft>
              <a:buSzTx/>
              <a:buFont typeface="Arial" panose="020B0604020202020204" pitchFamily="34" charset="0"/>
              <a:buChar char="̶"/>
              <a:defRPr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54641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B7484962-6460-42A0-8B2D-2A5BE461319A}"/>
              </a:ext>
            </a:extLst>
          </p:cNvPr>
          <p:cNvGrpSpPr/>
          <p:nvPr userDrawn="1"/>
        </p:nvGrpSpPr>
        <p:grpSpPr>
          <a:xfrm>
            <a:off x="10317304" y="3150223"/>
            <a:ext cx="1251160" cy="958286"/>
            <a:chOff x="10162879" y="3243772"/>
            <a:chExt cx="1251160" cy="958286"/>
          </a:xfrm>
        </p:grpSpPr>
        <p:sp>
          <p:nvSpPr>
            <p:cNvPr id="171" name="Legend1" hidden="1">
              <a:extLst>
                <a:ext uri="{FF2B5EF4-FFF2-40B4-BE49-F238E27FC236}">
                  <a16:creationId xmlns:a16="http://schemas.microsoft.com/office/drawing/2014/main" id="{C16504EA-F1ED-4BBF-A9C6-57595953B07E}"/>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CEE8BAE4-030E-41D8-B1F8-123EB4760FFC}"/>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DA2698C-35AE-4C86-8ABA-43E5A0C57004}"/>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CF422A87-9A2F-43F8-B7A7-853F1005F061}"/>
                </a:ext>
              </a:extLst>
            </p:cNvPr>
            <p:cNvSpPr>
              <a:spLocks noChangeShapeType="1"/>
            </p:cNvSpPr>
            <p:nvPr/>
          </p:nvSpPr>
          <p:spPr bwMode="gray">
            <a:xfrm>
              <a:off x="10162879" y="4092784"/>
              <a:ext cx="457200" cy="0"/>
            </a:xfrm>
            <a:prstGeom prst="line">
              <a:avLst/>
            </a:prstGeom>
            <a:noFill/>
            <a:ln w="28575">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hidden="1">
              <a:extLst>
                <a:ext uri="{FF2B5EF4-FFF2-40B4-BE49-F238E27FC236}">
                  <a16:creationId xmlns:a16="http://schemas.microsoft.com/office/drawing/2014/main" id="{ECE7761F-2C48-46A5-ADBB-0B002FEDDC81}"/>
                </a:ext>
              </a:extLst>
            </p:cNvPr>
            <p:cNvSpPr>
              <a:spLocks noChangeShapeType="1"/>
            </p:cNvSpPr>
            <p:nvPr/>
          </p:nvSpPr>
          <p:spPr bwMode="gray">
            <a:xfrm>
              <a:off x="10162879" y="3719425"/>
              <a:ext cx="457200" cy="0"/>
            </a:xfrm>
            <a:prstGeom prst="line">
              <a:avLst/>
            </a:prstGeom>
            <a:noFill/>
            <a:ln w="28575">
              <a:solidFill>
                <a:schemeClr val="accent1"/>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hidden="1">
              <a:extLst>
                <a:ext uri="{FF2B5EF4-FFF2-40B4-BE49-F238E27FC236}">
                  <a16:creationId xmlns:a16="http://schemas.microsoft.com/office/drawing/2014/main" id="{1C54369B-0E9B-4EFC-87B8-71FA83D08A0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D70FFA10-05F3-4B51-805F-2AE358C66D44}"/>
              </a:ext>
            </a:extLst>
          </p:cNvPr>
          <p:cNvGrpSpPr/>
          <p:nvPr userDrawn="1"/>
        </p:nvGrpSpPr>
        <p:grpSpPr>
          <a:xfrm>
            <a:off x="10688315" y="1145373"/>
            <a:ext cx="880149" cy="1731859"/>
            <a:chOff x="7723680" y="1702457"/>
            <a:chExt cx="880149" cy="1731859"/>
          </a:xfrm>
        </p:grpSpPr>
        <p:sp>
          <p:nvSpPr>
            <p:cNvPr id="178" name="Legend1" hidden="1">
              <a:extLst>
                <a:ext uri="{FF2B5EF4-FFF2-40B4-BE49-F238E27FC236}">
                  <a16:creationId xmlns:a16="http://schemas.microsoft.com/office/drawing/2014/main" id="{E057805C-3CF8-4111-91AE-B02C6CDD36C0}"/>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307D48-108C-4F9A-8561-9ED07A266D1A}"/>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FA11ADE1-F1EB-4591-98AB-1F132CFBD8A0}"/>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A746054F-3404-4890-B798-A06501840955}"/>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C9C704ED-DCD5-42FC-A095-6384D6E55EB5}"/>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B0C1E337-3A69-499B-B0F4-6D7DFB7F9C05}"/>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932E79D-7066-4AD6-B60E-E2BC52B6298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59B86C35-906B-4FF0-8425-6754D57EBF43}"/>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AF7A16A7-8B19-4E0D-B905-1F5D95015DA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4012041B-E0AF-4EC1-AB55-56A72D02243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hidden="1">
                <a:extLst>
                  <a:ext uri="{FF2B5EF4-FFF2-40B4-BE49-F238E27FC236}">
                    <a16:creationId xmlns:a16="http://schemas.microsoft.com/office/drawing/2014/main" id="{6F696344-D806-4C58-B1D8-974922BB1E24}"/>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8ADDD570-77B0-4129-810C-7A3C34A17A18}"/>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B117C66-7D01-438D-8563-7CD87838C9A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hidden="1">
                <a:extLst>
                  <a:ext uri="{FF2B5EF4-FFF2-40B4-BE49-F238E27FC236}">
                    <a16:creationId xmlns:a16="http://schemas.microsoft.com/office/drawing/2014/main" id="{7108ECDC-40F6-4807-877A-BABFEB4AFBE9}"/>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FC1B3E38-7444-4488-8167-7F325BC02FA2}"/>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D605A67-F9E1-42A3-886B-B0852A73166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hidden="1">
                <a:extLst>
                  <a:ext uri="{FF2B5EF4-FFF2-40B4-BE49-F238E27FC236}">
                    <a16:creationId xmlns:a16="http://schemas.microsoft.com/office/drawing/2014/main" id="{AFCDF11F-A29B-4306-B44B-8D2BE1C1592C}"/>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AB301568-EF1B-4D1D-ADC3-1844901AA4CD}"/>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2BE89DB-ED35-460C-BDF1-93CE0F93D1F3}"/>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hidden="1">
                <a:extLst>
                  <a:ext uri="{FF2B5EF4-FFF2-40B4-BE49-F238E27FC236}">
                    <a16:creationId xmlns:a16="http://schemas.microsoft.com/office/drawing/2014/main" id="{358C73CD-ED13-4D23-99C0-F45D5C7E04BC}"/>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119D3746-361F-4AA4-A38D-F93C6AF9D087}"/>
              </a:ext>
            </a:extLst>
          </p:cNvPr>
          <p:cNvGrpSpPr/>
          <p:nvPr userDrawn="1"/>
        </p:nvGrpSpPr>
        <p:grpSpPr>
          <a:xfrm>
            <a:off x="10714801" y="4381500"/>
            <a:ext cx="853663" cy="1717282"/>
            <a:chOff x="10652400" y="4322824"/>
            <a:chExt cx="853663" cy="1717282"/>
          </a:xfrm>
        </p:grpSpPr>
        <p:sp>
          <p:nvSpPr>
            <p:cNvPr id="217" name="RectangleLegend1" hidden="1">
              <a:extLst>
                <a:ext uri="{FF2B5EF4-FFF2-40B4-BE49-F238E27FC236}">
                  <a16:creationId xmlns:a16="http://schemas.microsoft.com/office/drawing/2014/main" id="{B281911C-9646-4033-85CC-351D081CA78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hidden="1">
              <a:extLst>
                <a:ext uri="{FF2B5EF4-FFF2-40B4-BE49-F238E27FC236}">
                  <a16:creationId xmlns:a16="http://schemas.microsoft.com/office/drawing/2014/main" id="{50D3A4AD-6F53-43DC-9E40-CF531DBA3B8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hidden="1">
              <a:extLst>
                <a:ext uri="{FF2B5EF4-FFF2-40B4-BE49-F238E27FC236}">
                  <a16:creationId xmlns:a16="http://schemas.microsoft.com/office/drawing/2014/main" id="{0D8333FC-8074-42CE-BEA3-401BEE8419C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hidden="1">
              <a:extLst>
                <a:ext uri="{FF2B5EF4-FFF2-40B4-BE49-F238E27FC236}">
                  <a16:creationId xmlns:a16="http://schemas.microsoft.com/office/drawing/2014/main" id="{799E4610-E857-4675-80C1-4D7CF813BA62}"/>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hidden="1">
              <a:extLst>
                <a:ext uri="{FF2B5EF4-FFF2-40B4-BE49-F238E27FC236}">
                  <a16:creationId xmlns:a16="http://schemas.microsoft.com/office/drawing/2014/main" id="{D6A22290-64F1-4F76-8FB6-E44FDC6B66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hidden="1">
              <a:extLst>
                <a:ext uri="{FF2B5EF4-FFF2-40B4-BE49-F238E27FC236}">
                  <a16:creationId xmlns:a16="http://schemas.microsoft.com/office/drawing/2014/main" id="{DC4A031E-D1AB-407D-994F-108D96446906}"/>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9E8E8977-7A15-4678-8566-E98F248C9421}"/>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3FBE75A-5EFA-4E1B-9B32-294CDC95475C}"/>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EEB082C1-6EFE-41C3-9966-92C31157F35B}"/>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A66C6196-FD22-49A0-9E02-278834EB83B2}"/>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48" name="Picture 28" descr="World Health Organization Logo, history, meaning, symbol, PNG">
            <a:extLst>
              <a:ext uri="{FF2B5EF4-FFF2-40B4-BE49-F238E27FC236}">
                <a16:creationId xmlns:a16="http://schemas.microsoft.com/office/drawing/2014/main" id="{609E52E0-1A95-44B8-8769-7F7F19B6DAA0}"/>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rcRect t="17309" b="19199"/>
          <a:stretch>
            <a:fill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37224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Lst>
  <p:transition/>
  <p:txStyles>
    <p:titleStyle>
      <a:lvl1pPr algn="l" defTabSz="914400" rtl="0" eaLnBrk="1" latinLnBrk="0" hangingPunct="1">
        <a:lnSpc>
          <a:spcPct val="100000"/>
        </a:lnSpc>
        <a:spcBef>
          <a:spcPct val="0"/>
        </a:spcBef>
        <a:buNone/>
        <a:defRPr lang="en-US" sz="2500" b="0"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Tx/>
        <a:buFont typeface="Segoe UI" panose="020B0502040204020203" pitchFamily="34" charset="0"/>
        <a:buChar char="​"/>
        <a:defRPr lang="en-US"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ct val="0"/>
        </a:spcBef>
        <a:spcAft>
          <a:spcPts val="300"/>
        </a:spcAft>
        <a:buClr>
          <a:schemeClr val="tx1"/>
        </a:buClr>
        <a:buSzPct val="110000"/>
        <a:buFont typeface="Wingdings" panose="05000000000000000000" pitchFamily="2" charset="2"/>
        <a:buChar char=""/>
        <a:defRPr lang="en-US" sz="1600" kern="1200">
          <a:solidFill>
            <a:schemeClr val="tx1"/>
          </a:solidFill>
          <a:latin typeface="+mn-lt"/>
          <a:ea typeface="+mn-ea"/>
          <a:cs typeface="+mn-cs"/>
        </a:defRPr>
      </a:lvl2pPr>
      <a:lvl3pPr marL="438912" indent="-210312" algn="l" defTabSz="914400" rtl="0" eaLnBrk="1" latinLnBrk="0" hangingPunct="1">
        <a:lnSpc>
          <a:spcPct val="100000"/>
        </a:lnSpc>
        <a:spcBef>
          <a:spcPct val="0"/>
        </a:spcBef>
        <a:spcAft>
          <a:spcPts val="300"/>
        </a:spcAft>
        <a:buClr>
          <a:schemeClr val="tx1"/>
        </a:buClr>
        <a:buSzPct val="110000"/>
        <a:buFont typeface="Arial" panose="020B0604020202020204" pitchFamily="34" charset="0"/>
        <a:buChar char="‒"/>
        <a:defRPr lang="en-US" sz="1600" kern="1200">
          <a:solidFill>
            <a:schemeClr val="tx1"/>
          </a:solidFill>
          <a:latin typeface="+mn-lt"/>
          <a:ea typeface="+mn-ea"/>
          <a:cs typeface="+mn-cs"/>
        </a:defRPr>
      </a:lvl3pPr>
      <a:lvl4pPr marL="594360" indent="-155448" algn="l" defTabSz="914400" rtl="0" eaLnBrk="1" latinLnBrk="0" hangingPunct="1">
        <a:lnSpc>
          <a:spcPct val="100000"/>
        </a:lnSpc>
        <a:spcBef>
          <a:spcPct val="0"/>
        </a:spcBef>
        <a:spcAft>
          <a:spcPts val="300"/>
        </a:spcAft>
        <a:buClr>
          <a:schemeClr val="tx1"/>
        </a:buClr>
        <a:buSzTx/>
        <a:buFont typeface="Arial" panose="020B0604020202020204" pitchFamily="34" charset="0"/>
        <a:buChar char="•"/>
        <a:defRPr lang="en-US" sz="1600" kern="1200">
          <a:solidFill>
            <a:schemeClr val="tx1"/>
          </a:solidFill>
          <a:latin typeface="+mn-lt"/>
          <a:ea typeface="+mn-ea"/>
          <a:cs typeface="+mn-cs"/>
        </a:defRPr>
      </a:lvl4pPr>
      <a:lvl5pPr marL="813816" indent="-146304" algn="l" defTabSz="914400" rtl="0" eaLnBrk="1" latinLnBrk="0" hangingPunct="1">
        <a:lnSpc>
          <a:spcPct val="100000"/>
        </a:lnSpc>
        <a:spcBef>
          <a:spcPct val="0"/>
        </a:spcBef>
        <a:spcAft>
          <a:spcPts val="300"/>
        </a:spcAft>
        <a:buClr>
          <a:schemeClr val="tx1"/>
        </a:buClr>
        <a:buSzTx/>
        <a:buFont typeface="Arial" panose="020B0604020202020204" pitchFamily="34" charset="0"/>
        <a:buChar char="̶"/>
        <a:defRPr lang="en-US" sz="1600" kern="1200">
          <a:solidFill>
            <a:schemeClr val="tx1"/>
          </a:solidFill>
          <a:latin typeface="+mn-lt"/>
          <a:ea typeface="+mn-ea"/>
          <a:cs typeface="+mn-cs"/>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124477908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3" r:id="rId15"/>
  </p:sldLayoutIdLst>
  <p:transition/>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89510624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Lst>
  <p:transition/>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CB2A9C5F-569E-41BE-B5E5-7CBFE1B687B2}" type="datetime1">
              <a:rPr lang="en-GB" smtClean="0"/>
              <a:t>27/11/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6">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89327705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Lst>
  <p:transition/>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solidFill>
                  <a:schemeClr val="accent1"/>
                </a:solidFill>
              </a14:hiddenFill>
            </a:ex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590052" y="1380815"/>
            <a:ext cx="11055335" cy="4611835"/>
          </a:xfrm>
          <a:prstGeom prst="rect">
            <a:avLst/>
          </a:prstGeom>
          <a:noFill/>
          <a:ln>
            <a:noFill/>
          </a:ln>
          <a:effectLst/>
          <a:extLst>
            <a:ext uri="{909E8E84-426E-40dd-AFC4-6F175D3DCCD1}">
              <a14:hiddenFill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solidFill>
                  <a:schemeClr val="accent1"/>
                </a:solidFill>
              </a14:hiddenFill>
            </a:ex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a:solidFill>
                  <a:schemeClr val="tx1"/>
                </a:solidFill>
                <a:miter lim="800000"/>
                <a:headEnd/>
                <a:tailEnd/>
              </a14:hiddenLine>
            </a:ext>
            <a:ext uri="{AF507438-7753-43e0-B8FC-AC1667EBCBE1}">
              <a14:hiddenEffects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052" name="Line 4"/>
          <p:cNvSpPr>
            <a:spLocks noChangeShapeType="1"/>
          </p:cNvSpPr>
          <p:nvPr/>
        </p:nvSpPr>
        <p:spPr bwMode="auto">
          <a:xfrm>
            <a:off x="0" y="1245470"/>
            <a:ext cx="12192000" cy="0"/>
          </a:xfrm>
          <a:prstGeom prst="line">
            <a:avLst/>
          </a:prstGeom>
          <a:noFill/>
          <a:ln w="38100">
            <a:solidFill>
              <a:srgbClr val="1E7FB8"/>
            </a:solidFill>
            <a:round/>
          </a:ln>
          <a:effectLst/>
          <a:extLst>
            <a:ext uri="{909E8E84-426E-40dd-AFC4-6F175D3DCCD1}">
              <a14:hiddenFill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noFill/>
              </a14:hiddenFill>
            </a:ext>
            <a:ext uri="{AF507438-7753-43e0-B8FC-AC1667EBCBE1}">
              <a14:hiddenEffects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effectLst>
                  <a:outerShdw dist="28398" dir="1593903" algn="ctr" rotWithShape="0">
                    <a:schemeClr val="bg2"/>
                  </a:outerShdw>
                </a:effectLst>
              </a14:hiddenEffects>
            </a:ext>
          </a:extLst>
        </p:spPr>
        <p:txBody>
          <a:bodyPr/>
          <a:lstStyle/>
          <a:p>
            <a:endParaRPr lang="en-GB" sz="1633"/>
          </a:p>
        </p:txBody>
      </p:sp>
      <p:sp>
        <p:nvSpPr>
          <p:cNvPr id="2053" name="Rectangle 5"/>
          <p:cNvSpPr>
            <a:spLocks noChangeArrowheads="1"/>
          </p:cNvSpPr>
          <p:nvPr/>
        </p:nvSpPr>
        <p:spPr bwMode="auto">
          <a:xfrm>
            <a:off x="0" y="6197109"/>
            <a:ext cx="12192000" cy="660891"/>
          </a:xfrm>
          <a:prstGeom prst="rect">
            <a:avLst/>
          </a:prstGeom>
          <a:solidFill>
            <a:srgbClr val="1E7FB8"/>
          </a:solidFill>
          <a:ln>
            <a:noFill/>
          </a:ln>
          <a:effectLst/>
          <a:extLs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a:solidFill>
                  <a:schemeClr val="tx1"/>
                </a:solidFill>
                <a:miter lim="800000"/>
                <a:headEnd/>
                <a:tailEnd/>
              </a14:hiddenLine>
            </a:ext>
            <a:ext uri="{AF507438-7753-43e0-B8FC-AC1667EBCBE1}">
              <a14:hiddenEffects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effectLst>
                  <a:outerShdw dist="35921" dir="2700000" algn="ctr" rotWithShape="0">
                    <a:schemeClr val="bg2"/>
                  </a:outerShdw>
                </a:effectLst>
              </a14:hiddenEffects>
            </a:ext>
          </a:extLst>
        </p:spPr>
        <p:txBody>
          <a:bodyPr wrap="none" anchor="ctr"/>
          <a:lstStyle/>
          <a:p>
            <a:endParaRPr lang="en-US" sz="1633"/>
          </a:p>
        </p:txBody>
      </p:sp>
      <p:sp>
        <p:nvSpPr>
          <p:cNvPr id="2055" name="Rectangle 7"/>
          <p:cNvSpPr>
            <a:spLocks noChangeArrowheads="1"/>
          </p:cNvSpPr>
          <p:nvPr/>
        </p:nvSpPr>
        <p:spPr bwMode="auto">
          <a:xfrm>
            <a:off x="479645" y="6398688"/>
            <a:ext cx="474214" cy="332606"/>
          </a:xfrm>
          <a:prstGeom prst="rect">
            <a:avLst/>
          </a:prstGeom>
          <a:noFill/>
          <a:ln>
            <a:noFill/>
          </a:ln>
          <a:effectLst/>
          <a:extLst>
            <a:ext uri="{909E8E84-426E-40dd-AFC4-6F175D3DCCD1}">
              <a14:hiddenFill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solidFill>
                  <a:schemeClr val="accent1"/>
                </a:solidFill>
              </a14:hiddenFill>
            </a:ex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a:solidFill>
                  <a:schemeClr val="tx1"/>
                </a:solidFill>
                <a:miter lim="800000"/>
                <a:headEnd/>
                <a:tailEnd/>
              </a14:hiddenLine>
            </a:ext>
            <a:ext uri="{AF507438-7753-43e0-B8FC-AC1667EBCBE1}">
              <a14:hiddenEffects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effectLst>
                  <a:outerShdw dist="35921" dir="2700000" algn="ctr" rotWithShape="0">
                    <a:schemeClr val="bg2"/>
                  </a:outerShdw>
                </a:effectLst>
              </a14:hiddenEffects>
            </a:ext>
          </a:extLst>
        </p:spPr>
        <p:txBody>
          <a:bodyPr lIns="0" tIns="0" rIns="0" bIns="0"/>
          <a:lstStyle/>
          <a:p>
            <a:pPr algn="r" defTabSz="945990">
              <a:spcBef>
                <a:spcPct val="0"/>
              </a:spcBef>
            </a:pPr>
            <a:fld id="{096BACF8-1F4B-4F7D-A8CA-B59E1BAFCEE0}" type="slidenum">
              <a:rPr lang="x-none" sz="1542" b="1">
                <a:solidFill>
                  <a:srgbClr val="72BBE8"/>
                </a:solidFill>
                <a:latin typeface="Arial Narrow" pitchFamily="34" charset="0"/>
              </a:rPr>
              <a:pPr algn="r" defTabSz="945990">
                <a:spcBef>
                  <a:spcPct val="0"/>
                </a:spcBef>
              </a:pPr>
              <a:t>‹#›</a:t>
            </a:fld>
            <a:r>
              <a:rPr lang="en-US" sz="1542" b="1">
                <a:solidFill>
                  <a:srgbClr val="72BBE8"/>
                </a:solidFill>
                <a:latin typeface="Arial Narrow" pitchFamily="34" charset="0"/>
              </a:rPr>
              <a:t> </a:t>
            </a:r>
            <a:r>
              <a:rPr lang="en-US" sz="2177" b="1" baseline="14000">
                <a:solidFill>
                  <a:schemeClr val="bg1"/>
                </a:solidFill>
                <a:latin typeface="Arial Narrow" pitchFamily="34" charset="0"/>
              </a:rPr>
              <a:t>|</a:t>
            </a:r>
          </a:p>
        </p:txBody>
      </p:sp>
      <p:pic>
        <p:nvPicPr>
          <p:cNvPr id="2056" name="Picture 8" descr="WHO-EN-white-H"/>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9274318" y="6211507"/>
            <a:ext cx="2244371" cy="547143"/>
          </a:xfrm>
          <a:prstGeom prst="rect">
            <a:avLst/>
          </a:prstGeom>
          <a:noFill/>
          <a:ln>
            <a:noFill/>
          </a:ln>
          <a:extLst>
            <a:ext uri="{909E8E84-426E-40dd-AFC4-6F175D3DCCD1}">
              <a14:hiddenFill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solidFill>
                  <a:srgbClr val="FFFFFF"/>
                </a:solidFill>
              </a14:hiddenFill>
            </a:ex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a:solidFill>
                  <a:srgbClr val="000000"/>
                </a:solidFill>
                <a:miter lim="800000"/>
                <a:headEnd/>
                <a:tailEnd/>
              </a14:hiddenLine>
            </a:ext>
          </a:extLst>
        </p:spPr>
      </p:pic>
      <p:sp>
        <p:nvSpPr>
          <p:cNvPr id="9" name="Rectangle 8">
            <a:extLst>
              <a:ext uri="{FF2B5EF4-FFF2-40B4-BE49-F238E27FC236}">
                <a16:creationId xmlns:a16="http://schemas.microsoft.com/office/drawing/2014/main" id="{C14538A4-6F5D-410E-9F0B-09391CC681EB}"/>
              </a:ext>
            </a:extLst>
          </p:cNvPr>
          <p:cNvSpPr/>
          <p:nvPr userDrawn="1"/>
        </p:nvSpPr>
        <p:spPr bwMode="auto">
          <a:xfrm>
            <a:off x="0" y="1014153"/>
            <a:ext cx="12192000" cy="432262"/>
          </a:xfrm>
          <a:prstGeom prst="rect">
            <a:avLst/>
          </a:prstGeom>
          <a:solidFill>
            <a:schemeClr val="bg1"/>
          </a:solidFill>
          <a:ln>
            <a:noFill/>
          </a:ln>
          <a:effectLst/>
          <a:extLs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xmlns:p159="http://schemas.microsoft.com/office/powerpoint/2015/09/main" xmlns:p15="http://schemas.microsoft.com/office/powerpoint/2012/main" xmlns:p14="http://schemas.microsoft.com/office/powerpoint/2010/main" xmlns:wp="http://schemas.openxmlformats.org/drawingml/2006/wordprocessingDrawing" xmlns:w="http://schemas.openxmlformats.org/wordprocessingml/2006/main" xmlns:m="http://schemas.openxmlformats.org/officeDocument/2006/math">
                <a:effectLst>
                  <a:outerShdw dist="35921" dir="2700000" algn="ctr" rotWithShape="0">
                    <a:schemeClr val="bg2"/>
                  </a:outerShdw>
                </a:effectLst>
              </a14:hiddenEffects>
            </a:ext>
          </a:extLst>
        </p:spPr>
        <p:txBody>
          <a:bodyPr vert="horz" wrap="square" lIns="104306" tIns="52153" rIns="104306" bIns="52153" numCol="1" rtlCol="0" anchor="t" anchorCtr="0" compatLnSpc="1">
            <a:prstTxWarp prst="textNoShape">
              <a:avLst/>
            </a:prstTxWarp>
            <a:spAutoFit/>
          </a:bodyPr>
          <a:lstStyle/>
          <a:p>
            <a:pPr marL="0" marR="0" indent="0" algn="ctr" defTabSz="1042988" rtl="0" eaLnBrk="1" fontAlgn="base" latinLnBrk="0" hangingPunct="1">
              <a:lnSpc>
                <a:spcPct val="100000"/>
              </a:lnSpc>
              <a:spcBef>
                <a:spcPct val="50000"/>
              </a:spcBef>
              <a:spcAft>
                <a:spcPct val="0"/>
              </a:spcAft>
              <a:buClrTx/>
              <a:buSzTx/>
              <a:buFontTx/>
              <a:buNone/>
            </a:pPr>
            <a:endParaRPr kumimoji="0" lang="en-US" sz="2700" b="0" i="0" u="none" strike="noStrike" cap="none" normalizeH="0" baseline="0">
              <a:ln>
                <a:noFill/>
              </a:ln>
              <a:solidFill>
                <a:schemeClr val="tx1"/>
              </a:solidFill>
              <a:effectLst/>
              <a:latin typeface="Times New Roman" panose="02020603050405020304" pitchFamily="18" charset="0"/>
              <a:cs typeface="Arial"/>
            </a:endParaRPr>
          </a:p>
        </p:txBody>
      </p:sp>
    </p:spTree>
    <p:extLst>
      <p:ext uri="{BB962C8B-B14F-4D97-AF65-F5344CB8AC3E}">
        <p14:creationId xmlns:p14="http://schemas.microsoft.com/office/powerpoint/2010/main" val="54117285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Lst>
  <p:transition/>
  <p:txStyles>
    <p:titleStyle>
      <a:lvl1pPr algn="ctr" defTabSz="945990" rtl="0" eaLnBrk="1" fontAlgn="base" hangingPunct="1">
        <a:spcBef>
          <a:spcPct val="0"/>
        </a:spcBef>
        <a:spcAft>
          <a:spcPct val="0"/>
        </a:spcAft>
        <a:defRPr sz="3628" b="1">
          <a:solidFill>
            <a:srgbClr val="000066"/>
          </a:solidFill>
          <a:latin typeface="+mj-lt"/>
          <a:ea typeface="+mj-ea"/>
          <a:cs typeface="+mj-cs"/>
        </a:defRPr>
      </a:lvl1pPr>
      <a:lvl2pPr algn="ctr" defTabSz="945990" rtl="0" eaLnBrk="1" fontAlgn="base" hangingPunct="1">
        <a:spcBef>
          <a:spcPct val="0"/>
        </a:spcBef>
        <a:spcAft>
          <a:spcPct val="0"/>
        </a:spcAft>
        <a:defRPr sz="3628" b="1">
          <a:solidFill>
            <a:srgbClr val="000066"/>
          </a:solidFill>
          <a:latin typeface="Arial"/>
          <a:cs typeface="Arial"/>
        </a:defRPr>
      </a:lvl2pPr>
      <a:lvl3pPr algn="ctr" defTabSz="945990" rtl="0" eaLnBrk="1" fontAlgn="base" hangingPunct="1">
        <a:spcBef>
          <a:spcPct val="0"/>
        </a:spcBef>
        <a:spcAft>
          <a:spcPct val="0"/>
        </a:spcAft>
        <a:defRPr sz="3628" b="1">
          <a:solidFill>
            <a:srgbClr val="000066"/>
          </a:solidFill>
          <a:latin typeface="Arial"/>
          <a:cs typeface="Arial"/>
        </a:defRPr>
      </a:lvl3pPr>
      <a:lvl4pPr algn="ctr" defTabSz="945990" rtl="0" eaLnBrk="1" fontAlgn="base" hangingPunct="1">
        <a:spcBef>
          <a:spcPct val="0"/>
        </a:spcBef>
        <a:spcAft>
          <a:spcPct val="0"/>
        </a:spcAft>
        <a:defRPr sz="3628" b="1">
          <a:solidFill>
            <a:srgbClr val="000066"/>
          </a:solidFill>
          <a:latin typeface="Arial"/>
          <a:cs typeface="Arial"/>
        </a:defRPr>
      </a:lvl4pPr>
      <a:lvl5pPr algn="ctr" defTabSz="945990" rtl="0" eaLnBrk="1" fontAlgn="base" hangingPunct="1">
        <a:spcBef>
          <a:spcPct val="0"/>
        </a:spcBef>
        <a:spcAft>
          <a:spcPct val="0"/>
        </a:spcAft>
        <a:defRPr sz="3628" b="1">
          <a:solidFill>
            <a:srgbClr val="000066"/>
          </a:solidFill>
          <a:latin typeface="Arial"/>
          <a:cs typeface="Arial"/>
        </a:defRPr>
      </a:lvl5pPr>
      <a:lvl6pPr marL="414680" algn="ctr" defTabSz="945990" rtl="0" eaLnBrk="1" fontAlgn="base" hangingPunct="1">
        <a:spcBef>
          <a:spcPct val="0"/>
        </a:spcBef>
        <a:spcAft>
          <a:spcPct val="0"/>
        </a:spcAft>
        <a:defRPr sz="3628" b="1">
          <a:solidFill>
            <a:srgbClr val="000066"/>
          </a:solidFill>
          <a:latin typeface="Arial"/>
          <a:cs typeface="Arial"/>
        </a:defRPr>
      </a:lvl6pPr>
      <a:lvl7pPr marL="829361" algn="ctr" defTabSz="945990" rtl="0" eaLnBrk="1" fontAlgn="base" hangingPunct="1">
        <a:spcBef>
          <a:spcPct val="0"/>
        </a:spcBef>
        <a:spcAft>
          <a:spcPct val="0"/>
        </a:spcAft>
        <a:defRPr sz="3628" b="1">
          <a:solidFill>
            <a:srgbClr val="000066"/>
          </a:solidFill>
          <a:latin typeface="Arial"/>
          <a:cs typeface="Arial"/>
        </a:defRPr>
      </a:lvl7pPr>
      <a:lvl8pPr marL="1244041" algn="ctr" defTabSz="945990" rtl="0" eaLnBrk="1" fontAlgn="base" hangingPunct="1">
        <a:spcBef>
          <a:spcPct val="0"/>
        </a:spcBef>
        <a:spcAft>
          <a:spcPct val="0"/>
        </a:spcAft>
        <a:defRPr sz="3628" b="1">
          <a:solidFill>
            <a:srgbClr val="000066"/>
          </a:solidFill>
          <a:latin typeface="Arial"/>
          <a:cs typeface="Arial"/>
        </a:defRPr>
      </a:lvl8pPr>
      <a:lvl9pPr marL="1658722" algn="ctr" defTabSz="945990" rtl="0" eaLnBrk="1" fontAlgn="base" hangingPunct="1">
        <a:spcBef>
          <a:spcPct val="0"/>
        </a:spcBef>
        <a:spcAft>
          <a:spcPct val="0"/>
        </a:spcAft>
        <a:defRPr sz="3628" b="1">
          <a:solidFill>
            <a:srgbClr val="000066"/>
          </a:solidFill>
          <a:latin typeface="Arial"/>
          <a:cs typeface="Arial"/>
        </a:defRPr>
      </a:lvl9pPr>
    </p:titleStyle>
    <p:bodyStyle>
      <a:lvl1pPr marL="354206" indent="-354206" algn="l" defTabSz="945990" rtl="0" eaLnBrk="1" fontAlgn="base" hangingPunct="1">
        <a:spcBef>
          <a:spcPct val="80000"/>
        </a:spcBef>
        <a:spcAft>
          <a:spcPct val="0"/>
        </a:spcAft>
        <a:buClr>
          <a:srgbClr val="1E7FB8"/>
        </a:buClr>
        <a:buFont typeface="Wingdings" panose="05000000000000000000" pitchFamily="2" charset="2"/>
        <a:buChar char="l"/>
        <a:defRPr sz="2630">
          <a:solidFill>
            <a:srgbClr val="000066"/>
          </a:solidFill>
          <a:latin typeface="+mn-lt"/>
          <a:ea typeface="+mn-ea"/>
          <a:cs typeface="+mn-cs"/>
        </a:defRPr>
      </a:lvl1pPr>
      <a:lvl2pPr marL="832241" indent="-290852" algn="l" defTabSz="945990" rtl="0" eaLnBrk="1" fontAlgn="base" hangingPunct="1">
        <a:spcBef>
          <a:spcPct val="20000"/>
        </a:spcBef>
        <a:spcAft>
          <a:spcPct val="0"/>
        </a:spcAft>
        <a:buClr>
          <a:srgbClr val="1E7FB8"/>
        </a:buClr>
        <a:buFont typeface="Arial" panose="020B0604020202020204" pitchFamily="34" charset="0"/>
        <a:buChar char="–"/>
        <a:defRPr sz="2177">
          <a:solidFill>
            <a:srgbClr val="000066"/>
          </a:solidFill>
          <a:latin typeface="+mn-lt"/>
          <a:cs typeface="+mn-cs"/>
        </a:defRPr>
      </a:lvl2pPr>
      <a:lvl3pPr marL="1298756" indent="-279333" algn="l" defTabSz="945990" rtl="0" eaLnBrk="1" fontAlgn="base" hangingPunct="1">
        <a:spcBef>
          <a:spcPct val="20000"/>
        </a:spcBef>
        <a:spcAft>
          <a:spcPct val="0"/>
        </a:spcAft>
        <a:buClr>
          <a:srgbClr val="1E7FB8"/>
        </a:buClr>
        <a:buChar char="•"/>
        <a:defRPr sz="2177">
          <a:solidFill>
            <a:srgbClr val="000066"/>
          </a:solidFill>
          <a:latin typeface="Arial Narrow" pitchFamily="34" charset="0"/>
          <a:cs typeface="+mn-cs"/>
        </a:defRPr>
      </a:lvl3pPr>
      <a:lvl4pPr marL="1720636" indent="-234698" algn="l" defTabSz="945990" rtl="0" eaLnBrk="1" fontAlgn="base" hangingPunct="1">
        <a:spcBef>
          <a:spcPct val="20000"/>
        </a:spcBef>
        <a:spcAft>
          <a:spcPct val="0"/>
        </a:spcAft>
        <a:buClr>
          <a:srgbClr val="1E7FB8"/>
        </a:buClr>
        <a:buChar char="–"/>
        <a:defRPr sz="2177">
          <a:solidFill>
            <a:srgbClr val="000066"/>
          </a:solidFill>
          <a:latin typeface="Arial Narrow" pitchFamily="34" charset="0"/>
          <a:cs typeface="+mn-cs"/>
        </a:defRPr>
      </a:lvl4pPr>
      <a:lvl5pPr marL="2057564" indent="-151186" algn="r" defTabSz="945990" rtl="1" eaLnBrk="1" fontAlgn="base" hangingPunct="1">
        <a:spcBef>
          <a:spcPct val="20000"/>
        </a:spcBef>
        <a:spcAft>
          <a:spcPct val="0"/>
        </a:spcAft>
        <a:buChar char="»"/>
        <a:defRPr sz="2086">
          <a:solidFill>
            <a:srgbClr val="000066"/>
          </a:solidFill>
          <a:latin typeface="+mn-lt"/>
          <a:cs typeface="+mn-cs"/>
        </a:defRPr>
      </a:lvl5pPr>
      <a:lvl6pPr marL="2472244" indent="-151186" algn="r" defTabSz="945990" rtl="1" eaLnBrk="1" fontAlgn="base" hangingPunct="1">
        <a:spcBef>
          <a:spcPct val="20000"/>
        </a:spcBef>
        <a:spcAft>
          <a:spcPct val="0"/>
        </a:spcAft>
        <a:buChar char="»"/>
        <a:defRPr sz="2086">
          <a:solidFill>
            <a:srgbClr val="000066"/>
          </a:solidFill>
          <a:latin typeface="+mn-lt"/>
          <a:cs typeface="+mn-cs"/>
        </a:defRPr>
      </a:lvl6pPr>
      <a:lvl7pPr marL="2886925" indent="-151186" algn="r" defTabSz="945990" rtl="1" eaLnBrk="1" fontAlgn="base" hangingPunct="1">
        <a:spcBef>
          <a:spcPct val="20000"/>
        </a:spcBef>
        <a:spcAft>
          <a:spcPct val="0"/>
        </a:spcAft>
        <a:buChar char="»"/>
        <a:defRPr sz="2086">
          <a:solidFill>
            <a:srgbClr val="000066"/>
          </a:solidFill>
          <a:latin typeface="+mn-lt"/>
          <a:cs typeface="+mn-cs"/>
        </a:defRPr>
      </a:lvl7pPr>
      <a:lvl8pPr marL="3301605" indent="-151186" algn="r" defTabSz="945990" rtl="1" eaLnBrk="1" fontAlgn="base" hangingPunct="1">
        <a:spcBef>
          <a:spcPct val="20000"/>
        </a:spcBef>
        <a:spcAft>
          <a:spcPct val="0"/>
        </a:spcAft>
        <a:buChar char="»"/>
        <a:defRPr sz="2086">
          <a:solidFill>
            <a:srgbClr val="000066"/>
          </a:solidFill>
          <a:latin typeface="+mn-lt"/>
          <a:cs typeface="+mn-cs"/>
        </a:defRPr>
      </a:lvl8pPr>
      <a:lvl9pPr marL="3716286" indent="-151186" algn="r" defTabSz="945990" rtl="1" eaLnBrk="1" fontAlgn="base" hangingPunct="1">
        <a:spcBef>
          <a:spcPct val="20000"/>
        </a:spcBef>
        <a:spcAft>
          <a:spcPct val="0"/>
        </a:spcAft>
        <a:buChar char="»"/>
        <a:defRPr sz="2086">
          <a:solidFill>
            <a:srgbClr val="000066"/>
          </a:solidFill>
          <a:latin typeface="+mn-lt"/>
          <a:cs typeface="+mn-cs"/>
        </a:defRPr>
      </a:lvl9pPr>
    </p:bodyStyle>
    <p:otherStyle>
      <a:defPPr>
        <a:defRPr lang="en-US"/>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2A691F4-1CB0-3D45-B048-A5A3F8494584}"/>
              </a:ext>
            </a:extLst>
          </p:cNvPr>
          <p:cNvSpPr/>
          <p:nvPr userDrawn="1"/>
        </p:nvSpPr>
        <p:spPr>
          <a:xfrm>
            <a:off x="0" y="-27383"/>
            <a:ext cx="12192000" cy="759220"/>
          </a:xfrm>
          <a:prstGeom prst="rect">
            <a:avLst/>
          </a:prstGeom>
          <a:solidFill>
            <a:srgbClr val="0079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ct val="0"/>
              </a:spcBef>
              <a:spcAft>
                <a:spcPct val="0"/>
              </a:spcAft>
            </a:pPr>
            <a:endParaRPr lang="en-GB">
              <a:solidFill>
                <a:prstClr val="white"/>
              </a:solidFill>
            </a:endParaRP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819819" y="6021289"/>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ct val="0"/>
              </a:spcBef>
              <a:spcAft>
                <a:spcPct val="0"/>
              </a:spcAft>
            </a:pPr>
            <a:fld id="{72E375D5-DD51-4DDF-87E6-FA82A457ECD1}" type="slidenum">
              <a:rPr lang="en-GB" smtClean="0">
                <a:solidFill>
                  <a:prstClr val="black">
                    <a:tint val="75000"/>
                  </a:prstClr>
                </a:solidFill>
                <a:latin typeface="Calibri" panose="020F0502020204030204"/>
                <a:cs typeface="+mn-cs"/>
              </a:rPr>
              <a:pPr eaLnBrk="1" fontAlgn="auto" hangingPunct="1">
                <a:spcBef>
                  <a:spcPct val="0"/>
                </a:spcBef>
                <a:spcAft>
                  <a:spcPct val="0"/>
                </a:spcAft>
              </a:pPr>
              <a:t>‹#›</a:t>
            </a:fld>
            <a:endParaRPr lang="en-GB">
              <a:solidFill>
                <a:prstClr val="black">
                  <a:tint val="75000"/>
                </a:prstClr>
              </a:solidFill>
              <a:latin typeface="Calibri"/>
              <a:cs typeface="+mn-cs"/>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18" name="Date Placeholder 17"/>
          <p:cNvSpPr>
            <a:spLocks noGrp="1"/>
          </p:cNvSpPr>
          <p:nvPr>
            <p:ph type="dt" sz="half" idx="2"/>
          </p:nvPr>
        </p:nvSpPr>
        <p:spPr>
          <a:xfrm>
            <a:off x="8880000" y="36001"/>
            <a:ext cx="2844800" cy="365125"/>
          </a:xfrm>
          <a:prstGeom prst="rect">
            <a:avLst/>
          </a:prstGeom>
        </p:spPr>
        <p:txBody>
          <a:bodyPr vert="horz" lIns="91440" tIns="45720" rIns="91440" bIns="45720" rtlCol="0" anchor="ctr"/>
          <a:lstStyle>
            <a:lvl1pPr algn="r">
              <a:defRPr sz="1200">
                <a:solidFill>
                  <a:schemeClr val="bg1"/>
                </a:solidFill>
                <a:latin typeface="Segoe Condensed" panose="020B0606040200020203" pitchFamily="34" charset="0"/>
              </a:defRPr>
            </a:lvl1pPr>
          </a:lstStyle>
          <a:p>
            <a:pPr eaLnBrk="1" fontAlgn="auto" hangingPunct="1">
              <a:spcBef>
                <a:spcPct val="0"/>
              </a:spcBef>
              <a:spcAft>
                <a:spcPct val="0"/>
              </a:spcAft>
            </a:pPr>
            <a:fld id="{706DAB67-E117-46AE-8F6F-670ADCFE2459}" type="datetime4">
              <a:rPr lang="en-GB" smtClean="0">
                <a:solidFill>
                  <a:prstClr val="white"/>
                </a:solidFill>
                <a:cs typeface="+mn-cs"/>
              </a:rPr>
              <a:t>27 November 2022</a:t>
            </a:fld>
            <a:endParaRPr lang="en-GB">
              <a:solidFill>
                <a:prstClr val="white"/>
              </a:solidFill>
              <a:cs typeface="+mn-cs"/>
            </a:endParaRPr>
          </a:p>
        </p:txBody>
      </p:sp>
      <p:pic>
        <p:nvPicPr>
          <p:cNvPr id="10" name="Picture 9">
            <a:extLst>
              <a:ext uri="{FF2B5EF4-FFF2-40B4-BE49-F238E27FC236}">
                <a16:creationId xmlns:a16="http://schemas.microsoft.com/office/drawing/2014/main" id="{2767A390-2DE4-5B46-B84F-24F071F16105}"/>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07368" y="6326400"/>
            <a:ext cx="1368152" cy="380689"/>
          </a:xfrm>
          <a:prstGeom prst="rect">
            <a:avLst/>
          </a:prstGeom>
        </p:spPr>
      </p:pic>
      <p:cxnSp>
        <p:nvCxnSpPr>
          <p:cNvPr id="11" name="Straight Connector 10">
            <a:extLst>
              <a:ext uri="{FF2B5EF4-FFF2-40B4-BE49-F238E27FC236}">
                <a16:creationId xmlns:a16="http://schemas.microsoft.com/office/drawing/2014/main" id="{3B6BC40A-4DA4-7146-BF35-232B98D7F28C}"/>
              </a:ext>
            </a:extLst>
          </p:cNvPr>
          <p:cNvCxnSpPr/>
          <p:nvPr userDrawn="1"/>
        </p:nvCxnSpPr>
        <p:spPr>
          <a:xfrm>
            <a:off x="-12288" y="6224389"/>
            <a:ext cx="12204288"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3329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89" r:id="rId13"/>
  </p:sldLayoutIdLst>
  <p:transition/>
  <p:hf hdr="0" dt="0"/>
  <p:txStyles>
    <p:title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EB20996-940D-4E3D-9535-71C3BFC69C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1B493D-17A3-423B-8706-5F7C5A9946B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B69F1-4343-455B-98FD-6F9C43D345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6C98B560-D62F-4B0B-ABBC-94535200D6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19B6051-A386-4733-B7D7-E50B4AB9DB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242A58-9309-482D-BE7E-E6851242960B}" type="slidenum">
              <a:rPr lang="en-US" smtClean="0"/>
              <a:t>‹#›</a:t>
            </a:fld>
            <a:endParaRPr lang="en-US"/>
          </a:p>
        </p:txBody>
      </p:sp>
    </p:spTree>
    <p:extLst>
      <p:ext uri="{BB962C8B-B14F-4D97-AF65-F5344CB8AC3E}">
        <p14:creationId xmlns:p14="http://schemas.microsoft.com/office/powerpoint/2010/main" val="358649773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CB2A9C5F-569E-41BE-B5E5-7CBFE1B687B2}" type="datetime1">
              <a:rPr lang="en-GB" smtClean="0"/>
              <a:t>27/11/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4269317717"/>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transition/>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Tx/>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49208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0" name="OLE substitute imag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ct val="0"/>
              </a:spcBef>
              <a:spcAft>
                <a:spcPct val="0"/>
              </a:spcAft>
              <a:buClrTx/>
              <a:buSzTx/>
              <a:buFontTx/>
              <a:buNone/>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flipH="1">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flipH="1">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flipH="1">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flipH="1">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flipH="1">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flipH="1">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flipH="1">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flipH="1">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flipH="1">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flipH="1">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flipH="1">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flipH="1">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ct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ct val="0"/>
              </a:spcBef>
              <a:spcAft>
                <a:spcPts val="300"/>
              </a:spcAft>
              <a:buSzPct val="110000"/>
              <a:buFont typeface="Wingdings" panose="05000000000000000000" pitchFamily="2" charset="2"/>
              <a:buChar char=""/>
              <a:defRPr sz="1600"/>
            </a:lvl2pPr>
            <a:lvl3pPr marL="442913" lvl="2" indent="-214313">
              <a:lnSpc>
                <a:spcPct val="100000"/>
              </a:lnSpc>
              <a:spcBef>
                <a:spcPct val="0"/>
              </a:spcBef>
              <a:spcAft>
                <a:spcPts val="300"/>
              </a:spcAft>
              <a:buSzPct val="110000"/>
              <a:buFont typeface="Arial" panose="020B0604020202020204" pitchFamily="34" charset="0"/>
              <a:buChar char="‒"/>
              <a:defRPr sz="1600"/>
            </a:lvl3pPr>
            <a:lvl4pPr marL="598488" lvl="3" indent="-152400">
              <a:lnSpc>
                <a:spcPct val="100000"/>
              </a:lnSpc>
              <a:spcBef>
                <a:spcPct val="0"/>
              </a:spcBef>
              <a:spcAft>
                <a:spcPts val="300"/>
              </a:spcAft>
              <a:buFont typeface="Arial" panose="020B0604020202020204" pitchFamily="34" charset="0"/>
              <a:buChar char="•"/>
              <a:defRPr sz="1600"/>
            </a:lvl4pPr>
            <a:lvl5pPr marL="817563" lvl="4" indent="-147638">
              <a:lnSpc>
                <a:spcPct val="100000"/>
              </a:lnSpc>
              <a:spcBef>
                <a:spcPct val="0"/>
              </a:spcBef>
              <a:spcAft>
                <a:spcPts val="300"/>
              </a:spcAft>
              <a:buSzTx/>
              <a:buFont typeface="Arial" panose="020B0604020202020204" pitchFamily="34" charset="0"/>
              <a:buChar char="̶"/>
              <a:defRPr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27648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Lst>
  <p:transition/>
  <p:txStyles>
    <p:titleStyle>
      <a:lvl1pPr algn="l" defTabSz="914400" rtl="0" eaLnBrk="1" latinLnBrk="0" hangingPunct="1">
        <a:lnSpc>
          <a:spcPct val="100000"/>
        </a:lnSpc>
        <a:spcBef>
          <a:spcPct val="0"/>
        </a:spcBef>
        <a:buNone/>
        <a:defRPr lang="en-US"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Tx/>
        <a:buFont typeface="Segoe UI" panose="020B0502040204020203" pitchFamily="34" charset="0"/>
        <a:buChar char="​"/>
        <a:defRPr lang="en-US"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ct val="0"/>
        </a:spcBef>
        <a:spcAft>
          <a:spcPts val="300"/>
        </a:spcAft>
        <a:buClr>
          <a:schemeClr val="tx1"/>
        </a:buClr>
        <a:buSzPct val="110000"/>
        <a:buFont typeface="Wingdings" panose="05000000000000000000" pitchFamily="2" charset="2"/>
        <a:buChar char=""/>
        <a:defRPr lang="en-US" sz="1600" kern="1200">
          <a:solidFill>
            <a:schemeClr val="tx1"/>
          </a:solidFill>
          <a:latin typeface="+mn-lt"/>
          <a:ea typeface="+mn-ea"/>
          <a:cs typeface="+mn-cs"/>
        </a:defRPr>
      </a:lvl2pPr>
      <a:lvl3pPr marL="442913" indent="-214313" algn="l" defTabSz="914400" rtl="0" eaLnBrk="1" latinLnBrk="0" hangingPunct="1">
        <a:lnSpc>
          <a:spcPct val="100000"/>
        </a:lnSpc>
        <a:spcBef>
          <a:spcPct val="0"/>
        </a:spcBef>
        <a:spcAft>
          <a:spcPts val="300"/>
        </a:spcAft>
        <a:buClr>
          <a:schemeClr val="tx1"/>
        </a:buClr>
        <a:buSzPct val="110000"/>
        <a:buFont typeface="Arial" panose="020B0604020202020204" pitchFamily="34" charset="0"/>
        <a:buChar char="‒"/>
        <a:defRPr lang="en-US" sz="1600" kern="1200">
          <a:solidFill>
            <a:schemeClr val="tx1"/>
          </a:solidFill>
          <a:latin typeface="+mn-lt"/>
          <a:ea typeface="+mn-ea"/>
          <a:cs typeface="+mn-cs"/>
        </a:defRPr>
      </a:lvl3pPr>
      <a:lvl4pPr marL="598488" indent="-152400" algn="l" defTabSz="914400" rtl="0" eaLnBrk="1" latinLnBrk="0" hangingPunct="1">
        <a:lnSpc>
          <a:spcPct val="100000"/>
        </a:lnSpc>
        <a:spcBef>
          <a:spcPct val="0"/>
        </a:spcBef>
        <a:spcAft>
          <a:spcPts val="300"/>
        </a:spcAft>
        <a:buClr>
          <a:schemeClr val="tx1"/>
        </a:buClr>
        <a:buSzTx/>
        <a:buFont typeface="Arial" panose="020B0604020202020204" pitchFamily="34" charset="0"/>
        <a:buChar char="•"/>
        <a:defRPr lang="en-US" sz="1600" kern="1200">
          <a:solidFill>
            <a:schemeClr val="tx1"/>
          </a:solidFill>
          <a:latin typeface="+mn-lt"/>
          <a:ea typeface="+mn-ea"/>
          <a:cs typeface="+mn-cs"/>
        </a:defRPr>
      </a:lvl4pPr>
      <a:lvl5pPr marL="817563" indent="-147638" algn="l" defTabSz="914400" rtl="0" eaLnBrk="1" latinLnBrk="0" hangingPunct="1">
        <a:lnSpc>
          <a:spcPct val="100000"/>
        </a:lnSpc>
        <a:spcBef>
          <a:spcPct val="0"/>
        </a:spcBef>
        <a:spcAft>
          <a:spcPts val="300"/>
        </a:spcAft>
        <a:buClr>
          <a:schemeClr val="tx1"/>
        </a:buClr>
        <a:buSzTx/>
        <a:buFont typeface="Arial" panose="020B0604020202020204" pitchFamily="34" charset="0"/>
        <a:buChar char="̶"/>
        <a:defRPr lang="en-US" sz="1600" kern="1200">
          <a:solidFill>
            <a:schemeClr val="tx1"/>
          </a:solidFill>
          <a:latin typeface="+mn-lt"/>
          <a:ea typeface="+mn-ea"/>
          <a:cs typeface="+mn-cs"/>
        </a:defRPr>
      </a:lvl5pPr>
      <a:lvl6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ct val="0"/>
        </a:spcBef>
        <a:spcAft>
          <a:spcPts val="300"/>
        </a:spcAft>
        <a:buSzTx/>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oleObject" Target="../embeddings/oleObject37.bin"/><Relationship Id="rId18" Type="http://schemas.openxmlformats.org/officeDocument/2006/relationships/image" Target="../media/image50.png"/><Relationship Id="rId3" Type="http://schemas.openxmlformats.org/officeDocument/2006/relationships/tags" Target="../tags/tag261.xml"/><Relationship Id="rId21" Type="http://schemas.openxmlformats.org/officeDocument/2006/relationships/image" Target="../media/image53.svg"/><Relationship Id="rId7" Type="http://schemas.openxmlformats.org/officeDocument/2006/relationships/tags" Target="../tags/tag265.xml"/><Relationship Id="rId12" Type="http://schemas.openxmlformats.org/officeDocument/2006/relationships/notesSlide" Target="../notesSlides/notesSlide8.xml"/><Relationship Id="rId17" Type="http://schemas.openxmlformats.org/officeDocument/2006/relationships/image" Target="../media/image49.png"/><Relationship Id="rId2" Type="http://schemas.openxmlformats.org/officeDocument/2006/relationships/tags" Target="../tags/tag260.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slideLayout" Target="../slideLayouts/slideLayout142.xml"/><Relationship Id="rId5" Type="http://schemas.openxmlformats.org/officeDocument/2006/relationships/tags" Target="../tags/tag263.xml"/><Relationship Id="rId15" Type="http://schemas.openxmlformats.org/officeDocument/2006/relationships/image" Target="../media/image47.png"/><Relationship Id="rId10" Type="http://schemas.openxmlformats.org/officeDocument/2006/relationships/tags" Target="../tags/tag268.xml"/><Relationship Id="rId19" Type="http://schemas.openxmlformats.org/officeDocument/2006/relationships/image" Target="../media/image51.svg"/><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image" Target="../media/image4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2.xml"/><Relationship Id="rId1" Type="http://schemas.openxmlformats.org/officeDocument/2006/relationships/tags" Target="../tags/tag269.xml"/><Relationship Id="rId5" Type="http://schemas.openxmlformats.org/officeDocument/2006/relationships/image" Target="../media/image46.emf"/><Relationship Id="rId4" Type="http://schemas.openxmlformats.org/officeDocument/2006/relationships/oleObject" Target="../embeddings/oleObject38.bin"/></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71.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71.xml"/></Relationships>
</file>

<file path=ppt/slides/_rels/slide1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56.emf"/><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oleObject" Target="../embeddings/oleObject39.bin"/><Relationship Id="rId5" Type="http://schemas.openxmlformats.org/officeDocument/2006/relationships/notesSlide" Target="../notesSlides/notesSlide11.xml"/><Relationship Id="rId4"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275.xml"/><Relationship Id="rId7" Type="http://schemas.openxmlformats.org/officeDocument/2006/relationships/image" Target="../media/image46.emf"/><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oleObject" Target="../embeddings/oleObject40.bin"/><Relationship Id="rId5" Type="http://schemas.openxmlformats.org/officeDocument/2006/relationships/notesSlide" Target="../notesSlides/notesSlide12.xml"/><Relationship Id="rId4"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46.emf"/><Relationship Id="rId5" Type="http://schemas.openxmlformats.org/officeDocument/2006/relationships/oleObject" Target="../embeddings/oleObject41.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9.xml"/><Relationship Id="rId1" Type="http://schemas.openxmlformats.org/officeDocument/2006/relationships/tags" Target="../tags/tag278.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image" Target="../media/image59.png"/><Relationship Id="rId3" Type="http://schemas.openxmlformats.org/officeDocument/2006/relationships/tags" Target="../tags/tag281.xml"/><Relationship Id="rId7" Type="http://schemas.openxmlformats.org/officeDocument/2006/relationships/slideLayout" Target="../slideLayouts/slideLayout39.xml"/><Relationship Id="rId12" Type="http://schemas.openxmlformats.org/officeDocument/2006/relationships/image" Target="../media/image58.svg"/><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image" Target="../media/image50.png"/><Relationship Id="rId5" Type="http://schemas.openxmlformats.org/officeDocument/2006/relationships/tags" Target="../tags/tag283.xml"/><Relationship Id="rId10" Type="http://schemas.openxmlformats.org/officeDocument/2006/relationships/image" Target="../media/image46.emf"/><Relationship Id="rId4" Type="http://schemas.openxmlformats.org/officeDocument/2006/relationships/tags" Target="../tags/tag282.xml"/><Relationship Id="rId9" Type="http://schemas.openxmlformats.org/officeDocument/2006/relationships/oleObject" Target="../embeddings/oleObject42.bin"/></Relationships>
</file>

<file path=ppt/slides/_rels/slide22.xml.rels><?xml version="1.0" encoding="UTF-8" standalone="yes"?>
<Relationships xmlns="http://schemas.openxmlformats.org/package/2006/relationships"><Relationship Id="rId8" Type="http://schemas.openxmlformats.org/officeDocument/2006/relationships/tags" Target="../tags/tag292.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46.emf"/><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11" Type="http://schemas.openxmlformats.org/officeDocument/2006/relationships/oleObject" Target="../embeddings/oleObject43.bin"/><Relationship Id="rId5" Type="http://schemas.openxmlformats.org/officeDocument/2006/relationships/tags" Target="../tags/tag289.xml"/><Relationship Id="rId10" Type="http://schemas.openxmlformats.org/officeDocument/2006/relationships/notesSlide" Target="../notesSlides/notesSlide16.xml"/><Relationship Id="rId4" Type="http://schemas.openxmlformats.org/officeDocument/2006/relationships/tags" Target="../tags/tag288.xml"/><Relationship Id="rId9"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295.xml"/><Relationship Id="rId7" Type="http://schemas.openxmlformats.org/officeDocument/2006/relationships/slideLayout" Target="../slideLayouts/slideLayout39.xml"/><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5" Type="http://schemas.openxmlformats.org/officeDocument/2006/relationships/tags" Target="../tags/tag297.xml"/><Relationship Id="rId10" Type="http://schemas.openxmlformats.org/officeDocument/2006/relationships/image" Target="../media/image46.emf"/><Relationship Id="rId4" Type="http://schemas.openxmlformats.org/officeDocument/2006/relationships/tags" Target="../tags/tag296.xml"/><Relationship Id="rId9" Type="http://schemas.openxmlformats.org/officeDocument/2006/relationships/oleObject" Target="../embeddings/oleObject4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1.png"/><Relationship Id="rId2" Type="http://schemas.openxmlformats.org/officeDocument/2006/relationships/slideLayout" Target="../slideLayouts/slideLayout39.xml"/><Relationship Id="rId1" Type="http://schemas.openxmlformats.org/officeDocument/2006/relationships/tags" Target="../tags/tag299.xml"/><Relationship Id="rId6" Type="http://schemas.openxmlformats.org/officeDocument/2006/relationships/image" Target="../media/image60.png"/><Relationship Id="rId5" Type="http://schemas.openxmlformats.org/officeDocument/2006/relationships/image" Target="../media/image46.emf"/><Relationship Id="rId4" Type="http://schemas.openxmlformats.org/officeDocument/2006/relationships/oleObject" Target="../embeddings/oleObject45.bin"/></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19.xml"/><Relationship Id="rId13" Type="http://schemas.openxmlformats.org/officeDocument/2006/relationships/image" Target="../media/image64.png"/><Relationship Id="rId3" Type="http://schemas.openxmlformats.org/officeDocument/2006/relationships/tags" Target="../tags/tag302.xml"/><Relationship Id="rId7" Type="http://schemas.openxmlformats.org/officeDocument/2006/relationships/slideLayout" Target="../slideLayouts/slideLayout39.xml"/><Relationship Id="rId12" Type="http://schemas.openxmlformats.org/officeDocument/2006/relationships/image" Target="../media/image63.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image" Target="../media/image46.emf"/><Relationship Id="rId5" Type="http://schemas.openxmlformats.org/officeDocument/2006/relationships/tags" Target="../tags/tag304.xml"/><Relationship Id="rId10" Type="http://schemas.openxmlformats.org/officeDocument/2006/relationships/oleObject" Target="../embeddings/oleObject46.bin"/><Relationship Id="rId4" Type="http://schemas.openxmlformats.org/officeDocument/2006/relationships/tags" Target="../tags/tag303.xml"/><Relationship Id="rId9" Type="http://schemas.openxmlformats.org/officeDocument/2006/relationships/image" Target="../media/image62.png"/></Relationships>
</file>

<file path=ppt/slides/_rels/slide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22.xml"/><Relationship Id="rId5" Type="http://schemas.openxmlformats.org/officeDocument/2006/relationships/hyperlink" Target="https://apps.who.int/iris/bitstream/handle/10665/345531/WER27september2021-specialissue-eng-fre.pdf?sequence=1&amp;isAllowed=y" TargetMode="External"/><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E9BE6-770B-E546-B856-9AE8A8AD6114}"/>
              </a:ext>
            </a:extLst>
          </p:cNvPr>
          <p:cNvSpPr>
            <a:spLocks noGrp="1"/>
          </p:cNvSpPr>
          <p:nvPr>
            <p:ph type="ctrTitle"/>
          </p:nvPr>
        </p:nvSpPr>
        <p:spPr>
          <a:xfrm>
            <a:off x="457199" y="685419"/>
            <a:ext cx="11229976" cy="2387600"/>
          </a:xfrm>
        </p:spPr>
        <p:txBody>
          <a:bodyPr>
            <a:noAutofit/>
          </a:bodyPr>
          <a:lstStyle/>
          <a:p>
            <a:pPr rtl="0"/>
            <a:r>
              <a:rPr lang="zh-Hans" sz="4800" b="0" i="0" u="none" strike="noStrike" dirty="0">
                <a:highlight>
                  <a:srgbClr val="000000">
                    <a:alpha val="0"/>
                  </a:srgbClr>
                </a:highlight>
                <a:latin typeface="Simsun"/>
                <a:ea typeface="Simsun"/>
              </a:rPr>
              <a:t>国家</a:t>
            </a:r>
            <a:r>
              <a:rPr lang="zh-CN" altLang="en-US" dirty="0">
                <a:highlight>
                  <a:srgbClr val="000000">
                    <a:alpha val="0"/>
                  </a:srgbClr>
                </a:highlight>
                <a:latin typeface="Simsun"/>
                <a:ea typeface="Simsun"/>
              </a:rPr>
              <a:t>卫生</a:t>
            </a:r>
            <a:r>
              <a:rPr lang="zh-Hans" sz="4800" b="0" i="0" u="none" strike="noStrike" dirty="0">
                <a:highlight>
                  <a:srgbClr val="000000">
                    <a:alpha val="0"/>
                  </a:srgbClr>
                </a:highlight>
                <a:latin typeface="Simsun"/>
                <a:ea typeface="Simsun"/>
              </a:rPr>
              <a:t>安全行动计划--现状和未来走向</a:t>
            </a:r>
          </a:p>
        </p:txBody>
      </p:sp>
      <p:sp>
        <p:nvSpPr>
          <p:cNvPr id="3" name="Subtitle 2">
            <a:extLst>
              <a:ext uri="{FF2B5EF4-FFF2-40B4-BE49-F238E27FC236}">
                <a16:creationId xmlns:a16="http://schemas.microsoft.com/office/drawing/2014/main" id="{7AD05776-BD58-2F49-9E15-216C84F4F908}"/>
              </a:ext>
            </a:extLst>
          </p:cNvPr>
          <p:cNvSpPr>
            <a:spLocks noGrp="1"/>
          </p:cNvSpPr>
          <p:nvPr>
            <p:ph type="subTitle" idx="1"/>
          </p:nvPr>
        </p:nvSpPr>
        <p:spPr>
          <a:xfrm>
            <a:off x="457199" y="3959525"/>
            <a:ext cx="6719978" cy="1655762"/>
          </a:xfrm>
        </p:spPr>
        <p:txBody>
          <a:bodyPr>
            <a:noAutofit/>
          </a:bodyPr>
          <a:lstStyle/>
          <a:p>
            <a:pPr rtl="0"/>
            <a:r>
              <a:rPr lang="zh-Hans" sz="2400" b="0" i="0" u="none" strike="noStrike" dirty="0">
                <a:highlight>
                  <a:srgbClr val="000000">
                    <a:alpha val="0"/>
                  </a:srgbClr>
                </a:highlight>
                <a:latin typeface="Simsun"/>
                <a:ea typeface="Simsun"/>
              </a:rPr>
              <a:t>Jussi Sane博士</a:t>
            </a:r>
          </a:p>
          <a:p>
            <a:pPr rtl="0"/>
            <a:r>
              <a:rPr lang="zh-Hans" sz="2400" b="0" i="0" u="none" strike="noStrike" dirty="0">
                <a:highlight>
                  <a:srgbClr val="000000">
                    <a:alpha val="0"/>
                  </a:srgbClr>
                </a:highlight>
                <a:latin typeface="Simsun"/>
                <a:ea typeface="Simsun"/>
              </a:rPr>
              <a:t>国家卫生</a:t>
            </a:r>
            <a:r>
              <a:rPr lang="zh-CN" altLang="en-US" dirty="0">
                <a:highlight>
                  <a:srgbClr val="000000">
                    <a:alpha val="0"/>
                  </a:srgbClr>
                </a:highlight>
                <a:latin typeface="Simsun"/>
                <a:ea typeface="Simsun"/>
              </a:rPr>
              <a:t>突发事件</a:t>
            </a:r>
            <a:r>
              <a:rPr lang="zh-Hans" sz="2400" b="0" i="0" u="none" strike="noStrike" dirty="0">
                <a:highlight>
                  <a:srgbClr val="000000">
                    <a:alpha val="0"/>
                  </a:srgbClr>
                </a:highlight>
                <a:latin typeface="Simsun"/>
                <a:ea typeface="Simsun"/>
              </a:rPr>
              <a:t>准备和国际卫生条例（IHR)</a:t>
            </a:r>
          </a:p>
          <a:p>
            <a:pPr rtl="0"/>
            <a:r>
              <a:rPr lang="zh-Hans" sz="2400" b="0" i="0" u="none" strike="noStrike" dirty="0">
                <a:highlight>
                  <a:srgbClr val="000000">
                    <a:alpha val="0"/>
                  </a:srgbClr>
                </a:highlight>
                <a:latin typeface="Simsun"/>
                <a:ea typeface="Simsun"/>
              </a:rPr>
              <a:t>卫生</a:t>
            </a:r>
            <a:r>
              <a:rPr lang="zh-CN" altLang="en-US" sz="2400" b="0" i="0" u="none" strike="noStrike" dirty="0">
                <a:highlight>
                  <a:srgbClr val="000000">
                    <a:alpha val="0"/>
                  </a:srgbClr>
                </a:highlight>
                <a:latin typeface="Simsun"/>
                <a:ea typeface="Simsun"/>
              </a:rPr>
              <a:t>紧急情况</a:t>
            </a:r>
            <a:r>
              <a:rPr lang="zh-Hans" sz="2400" b="0" i="0" u="none" strike="noStrike" dirty="0">
                <a:highlight>
                  <a:srgbClr val="000000">
                    <a:alpha val="0"/>
                  </a:srgbClr>
                </a:highlight>
                <a:latin typeface="Simsun"/>
                <a:ea typeface="Simsun"/>
              </a:rPr>
              <a:t>方案</a:t>
            </a:r>
            <a:endParaRPr lang="en-US" dirty="0"/>
          </a:p>
        </p:txBody>
      </p:sp>
    </p:spTree>
    <p:extLst>
      <p:ext uri="{BB962C8B-B14F-4D97-AF65-F5344CB8AC3E}">
        <p14:creationId xmlns:p14="http://schemas.microsoft.com/office/powerpoint/2010/main" val="410055525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D38EE57-B708-47C9-A4A4-E25F09FAB0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57A28182-58A5-4DBB-8F64-BD944BCA815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9710" y="635715"/>
            <a:ext cx="11142208" cy="2482136"/>
            <a:chOff x="409710" y="635715"/>
            <a:chExt cx="11142208" cy="2482136"/>
          </a:xfrm>
        </p:grpSpPr>
        <p:sp>
          <p:nvSpPr>
            <p:cNvPr id="15" name="Freeform 44">
              <a:extLst>
                <a:ext uri="{FF2B5EF4-FFF2-40B4-BE49-F238E27FC236}">
                  <a16:creationId xmlns:a16="http://schemas.microsoft.com/office/drawing/2014/main" id="{E4A9080E-7BA6-45FC-8677-8B9D5F4DAF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6"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45">
              <a:extLst>
                <a:ext uri="{FF2B5EF4-FFF2-40B4-BE49-F238E27FC236}">
                  <a16:creationId xmlns:a16="http://schemas.microsoft.com/office/drawing/2014/main" id="{2163D516-75D4-4DE0-AC27-63719125AE5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46">
              <a:extLst>
                <a:ext uri="{FF2B5EF4-FFF2-40B4-BE49-F238E27FC236}">
                  <a16:creationId xmlns:a16="http://schemas.microsoft.com/office/drawing/2014/main" id="{E74A26A5-C23A-46D4-B0FF-155FB38346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7">
              <a:extLst>
                <a:ext uri="{FF2B5EF4-FFF2-40B4-BE49-F238E27FC236}">
                  <a16:creationId xmlns:a16="http://schemas.microsoft.com/office/drawing/2014/main" id="{08E0243F-1062-43C6-AD04-130DFF66840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5"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94C5517B-1B0F-47AA-93A5-36718996986F}"/>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5814D3E-18B4-452F-83F9-5684426FF2BE}"/>
              </a:ext>
            </a:extLst>
          </p:cNvPr>
          <p:cNvSpPr>
            <a:spLocks noGrp="1"/>
          </p:cNvSpPr>
          <p:nvPr>
            <p:ph type="title"/>
          </p:nvPr>
        </p:nvSpPr>
        <p:spPr>
          <a:xfrm>
            <a:off x="1047280" y="759805"/>
            <a:ext cx="10306520" cy="1325563"/>
          </a:xfrm>
        </p:spPr>
        <p:txBody>
          <a:bodyPr vert="horz" lIns="91440" tIns="45720" rIns="91440" bIns="45720" rtlCol="0">
            <a:noAutofit/>
          </a:bodyPr>
          <a:lstStyle/>
          <a:p>
            <a:pPr rtl="0"/>
            <a:r>
              <a:rPr lang="zh-Hans" sz="4000" b="1" i="0" u="none" strike="noStrike" kern="1200">
                <a:solidFill>
                  <a:srgbClr val="FFFFFF"/>
                </a:solidFill>
                <a:highlight>
                  <a:srgbClr val="000000">
                    <a:alpha val="0"/>
                  </a:srgbClr>
                </a:highlight>
                <a:latin typeface="Simsun"/>
                <a:ea typeface="Simsun"/>
                <a:cs typeface="+mj-cs"/>
              </a:rPr>
              <a:t>5年NAPHS &amp;</a:t>
            </a:r>
            <a:br>
              <a:rPr lang="zh-Hans" sz="4000" b="1" i="0" u="none" strike="noStrike" kern="1200">
                <a:solidFill>
                  <a:srgbClr val="FFFFFF"/>
                </a:solidFill>
                <a:highlight>
                  <a:srgbClr val="000000">
                    <a:alpha val="0"/>
                  </a:srgbClr>
                </a:highlight>
                <a:latin typeface="Simsun"/>
                <a:ea typeface="Simsun"/>
                <a:cs typeface="+mj-cs"/>
              </a:rPr>
            </a:br>
            <a:r>
              <a:rPr lang="zh-Hans" sz="4000" b="1" i="0" u="none" strike="noStrike" kern="1200">
                <a:solidFill>
                  <a:srgbClr val="FFFFFF"/>
                </a:solidFill>
                <a:highlight>
                  <a:srgbClr val="000000">
                    <a:alpha val="0"/>
                  </a:srgbClr>
                </a:highlight>
                <a:latin typeface="Simsun"/>
                <a:ea typeface="Simsun"/>
                <a:cs typeface="+mj-cs"/>
              </a:rPr>
              <a:t>12-24个月的优先行动计划</a:t>
            </a:r>
          </a:p>
        </p:txBody>
      </p:sp>
      <p:sp>
        <p:nvSpPr>
          <p:cNvPr id="6" name="Content Placeholder 5">
            <a:extLst>
              <a:ext uri="{FF2B5EF4-FFF2-40B4-BE49-F238E27FC236}">
                <a16:creationId xmlns:a16="http://schemas.microsoft.com/office/drawing/2014/main" id="{3C9789FC-51B8-2B14-9DB3-0C9D6C78B202}"/>
              </a:ext>
            </a:extLst>
          </p:cNvPr>
          <p:cNvSpPr>
            <a:spLocks noGrp="1"/>
          </p:cNvSpPr>
          <p:nvPr>
            <p:ph idx="1"/>
          </p:nvPr>
        </p:nvSpPr>
        <p:spPr>
          <a:xfrm>
            <a:off x="1371638" y="2904005"/>
            <a:ext cx="4053545" cy="1926630"/>
          </a:xfrm>
        </p:spPr>
        <p:style>
          <a:lnRef idx="2">
            <a:schemeClr val="accent4"/>
          </a:lnRef>
          <a:fillRef idx="1">
            <a:schemeClr val="lt1"/>
          </a:fillRef>
          <a:effectRef idx="0">
            <a:schemeClr val="accent4"/>
          </a:effectRef>
          <a:fontRef idx="minor">
            <a:schemeClr val="dk1"/>
          </a:fontRef>
        </p:style>
        <p:txBody>
          <a:bodyPr>
            <a:noAutofit/>
          </a:bodyPr>
          <a:lstStyle/>
          <a:p>
            <a:pPr rtl="0">
              <a:lnSpc>
                <a:spcPct val="90000"/>
              </a:lnSpc>
            </a:pPr>
            <a:r>
              <a:rPr lang="zh-Hans" sz="1700" b="1" i="0" u="none" strike="noStrike" dirty="0">
                <a:highlight>
                  <a:srgbClr val="000000">
                    <a:alpha val="0"/>
                  </a:srgbClr>
                </a:highlight>
                <a:latin typeface="Simsun"/>
                <a:ea typeface="Simsun"/>
              </a:rPr>
              <a:t>5年NAPHS： </a:t>
            </a:r>
            <a:r>
              <a:rPr lang="zh-Hans" sz="1700" b="0" i="0" u="none" strike="noStrike" dirty="0">
                <a:highlight>
                  <a:srgbClr val="000000">
                    <a:alpha val="0"/>
                  </a:srgbClr>
                </a:highlight>
                <a:latin typeface="Simsun"/>
                <a:ea typeface="Simsun"/>
              </a:rPr>
              <a:t>未来5年的</a:t>
            </a:r>
            <a:r>
              <a:rPr lang="zh-Hans" sz="1700" b="0" i="0" u="sng" strike="noStrike" dirty="0">
                <a:highlight>
                  <a:srgbClr val="000000">
                    <a:alpha val="0"/>
                  </a:srgbClr>
                </a:highlight>
                <a:latin typeface="Simsun"/>
                <a:ea typeface="Simsun"/>
              </a:rPr>
              <a:t>全</a:t>
            </a:r>
            <a:r>
              <a:rPr lang="zh-CN" altLang="en-US" sz="1700" u="sng" dirty="0">
                <a:highlight>
                  <a:srgbClr val="000000">
                    <a:alpha val="0"/>
                  </a:srgbClr>
                </a:highlight>
                <a:latin typeface="Simsun"/>
                <a:ea typeface="Simsun"/>
              </a:rPr>
              <a:t>风险</a:t>
            </a:r>
            <a:r>
              <a:rPr lang="zh-Hans" sz="1700" b="0" i="0" u="sng" strike="noStrike" dirty="0">
                <a:highlight>
                  <a:srgbClr val="000000">
                    <a:alpha val="0"/>
                  </a:srgbClr>
                </a:highlight>
                <a:latin typeface="Simsun"/>
                <a:ea typeface="Simsun"/>
              </a:rPr>
              <a:t>覆盖</a:t>
            </a:r>
            <a:r>
              <a:rPr lang="zh-Hans" sz="1700" b="0" i="0" u="none" strike="noStrike" dirty="0">
                <a:highlight>
                  <a:srgbClr val="000000">
                    <a:alpha val="0"/>
                  </a:srgbClr>
                </a:highlight>
                <a:latin typeface="Simsun"/>
                <a:ea typeface="Simsun"/>
              </a:rPr>
              <a:t>、高水平战略优先事项</a:t>
            </a:r>
          </a:p>
          <a:p>
            <a:pPr>
              <a:lnSpc>
                <a:spcPct val="90000"/>
              </a:lnSpc>
            </a:pPr>
            <a:endParaRPr lang="en-US" sz="1700" b="1" i="0" dirty="0">
              <a:effectLst/>
              <a:latin typeface="Arial" panose="020B0604020202020204" pitchFamily="34" charset="0"/>
            </a:endParaRPr>
          </a:p>
          <a:p>
            <a:pPr rtl="0">
              <a:lnSpc>
                <a:spcPct val="90000"/>
              </a:lnSpc>
            </a:pPr>
            <a:r>
              <a:rPr lang="zh-Hans" sz="1700" b="1" i="0" u="none" strike="noStrike" dirty="0">
                <a:highlight>
                  <a:srgbClr val="000000">
                    <a:alpha val="0"/>
                  </a:srgbClr>
                </a:highlight>
                <a:latin typeface="Simsun"/>
                <a:ea typeface="Simsun"/>
              </a:rPr>
              <a:t>12-24个月NAPHS运营计划： </a:t>
            </a:r>
            <a:r>
              <a:rPr lang="zh-Hans" sz="1700" b="0" i="0" u="none" strike="noStrike" dirty="0">
                <a:highlight>
                  <a:srgbClr val="000000">
                    <a:alpha val="0"/>
                  </a:srgbClr>
                </a:highlight>
                <a:latin typeface="Simsun"/>
                <a:ea typeface="Simsun"/>
              </a:rPr>
              <a:t>在未来1-2年实施具体的、可实施的和可管理的</a:t>
            </a:r>
            <a:r>
              <a:rPr lang="zh-Hans" sz="1700" b="0" i="0" u="sng" strike="noStrike" dirty="0">
                <a:highlight>
                  <a:srgbClr val="000000">
                    <a:alpha val="0"/>
                  </a:srgbClr>
                </a:highlight>
                <a:latin typeface="Simsun"/>
                <a:ea typeface="Simsun"/>
              </a:rPr>
              <a:t>全</a:t>
            </a:r>
            <a:r>
              <a:rPr lang="zh-CN" altLang="en-US" sz="1700" u="sng" dirty="0">
                <a:highlight>
                  <a:srgbClr val="000000">
                    <a:alpha val="0"/>
                  </a:srgbClr>
                </a:highlight>
                <a:latin typeface="Simsun"/>
                <a:ea typeface="Simsun"/>
              </a:rPr>
              <a:t>风险</a:t>
            </a:r>
            <a:r>
              <a:rPr lang="zh-Hans" sz="1700" b="0" i="0" u="sng" strike="noStrike" dirty="0">
                <a:highlight>
                  <a:srgbClr val="000000">
                    <a:alpha val="0"/>
                  </a:srgbClr>
                </a:highlight>
                <a:latin typeface="Simsun"/>
                <a:ea typeface="Simsun"/>
              </a:rPr>
              <a:t>覆盖</a:t>
            </a:r>
            <a:r>
              <a:rPr lang="zh-Hans" sz="1700" b="0" i="0" u="none" strike="noStrike" dirty="0">
                <a:highlight>
                  <a:srgbClr val="000000">
                    <a:alpha val="0"/>
                  </a:srgbClr>
                </a:highlight>
                <a:latin typeface="Simsun"/>
                <a:ea typeface="Simsun"/>
              </a:rPr>
              <a:t>优先事项</a:t>
            </a:r>
            <a:endParaRPr lang="en-US" sz="1700" b="1" i="0" dirty="0">
              <a:effectLst/>
              <a:latin typeface="Arial" panose="020B0604020202020204" pitchFamily="34" charset="0"/>
            </a:endParaRPr>
          </a:p>
          <a:p>
            <a:pPr marL="0" indent="0">
              <a:lnSpc>
                <a:spcPct val="90000"/>
              </a:lnSpc>
              <a:buNone/>
            </a:pPr>
            <a:endParaRPr lang="en-US" sz="1700" dirty="0">
              <a:latin typeface="Arial" panose="020B0604020202020204" pitchFamily="34" charset="0"/>
            </a:endParaRPr>
          </a:p>
        </p:txBody>
      </p:sp>
      <p:pic>
        <p:nvPicPr>
          <p:cNvPr id="3" name="Picture 2">
            <a:extLst>
              <a:ext uri="{FF2B5EF4-FFF2-40B4-BE49-F238E27FC236}">
                <a16:creationId xmlns:a16="http://schemas.microsoft.com/office/drawing/2014/main" id="{A29CE933-34AF-4CEE-82FF-0805B8E81EC0}"/>
              </a:ext>
            </a:extLst>
          </p:cNvPr>
          <p:cNvPicPr>
            <a:picLocks noChangeAspect="1"/>
          </p:cNvPicPr>
          <p:nvPr/>
        </p:nvPicPr>
        <p:blipFill>
          <a:blip r:embed="rId3"/>
          <a:stretch>
            <a:fillRect/>
          </a:stretch>
        </p:blipFill>
        <p:spPr>
          <a:xfrm>
            <a:off x="6355138" y="2543175"/>
            <a:ext cx="4802404" cy="2418232"/>
          </a:xfrm>
          <a:prstGeom prst="rect">
            <a:avLst/>
          </a:prstGeom>
        </p:spPr>
      </p:pic>
      <p:sp>
        <p:nvSpPr>
          <p:cNvPr id="4" name="Slide Number Placeholder 3">
            <a:extLst>
              <a:ext uri="{FF2B5EF4-FFF2-40B4-BE49-F238E27FC236}">
                <a16:creationId xmlns:a16="http://schemas.microsoft.com/office/drawing/2014/main" id="{63EFA781-F457-448D-B243-3029F6B705B8}"/>
              </a:ext>
            </a:extLst>
          </p:cNvPr>
          <p:cNvSpPr>
            <a:spLocks noGrp="1"/>
          </p:cNvSpPr>
          <p:nvPr>
            <p:ph type="sldNum" sz="quarter" idx="12"/>
          </p:nvPr>
        </p:nvSpPr>
        <p:spPr>
          <a:xfrm>
            <a:off x="10707624" y="6382512"/>
            <a:ext cx="685800" cy="320040"/>
          </a:xfrm>
        </p:spPr>
        <p:txBody>
          <a:bodyPr vert="horz" lIns="91440" tIns="45720" rIns="91440" bIns="45720" rtlCol="0">
            <a:noAutofit/>
          </a:bodyPr>
          <a:lstStyle/>
          <a:p>
            <a:pPr marL="0" marR="0" lvl="0" indent="0" algn="r" defTabSz="914400" rtl="0" eaLnBrk="1" fontAlgn="auto" latinLnBrk="0" hangingPunct="1">
              <a:lnSpc>
                <a:spcPct val="100000"/>
              </a:lnSpc>
              <a:spcBef>
                <a:spcPct val="0"/>
              </a:spcBef>
              <a:spcAft>
                <a:spcPts val="600"/>
              </a:spcAft>
              <a:buClrTx/>
              <a:buSzTx/>
              <a:buFontTx/>
              <a:buNone/>
              <a:defRPr/>
            </a:pPr>
            <a:r>
              <a:rPr kumimoji="0" lang="zh-Hans" sz="1000" b="0" i="0" u="none" strike="noStrike" kern="1200" cap="none" spc="0" normalizeH="0" baseline="0" noProof="0">
                <a:solidFill>
                  <a:srgbClr val="898989"/>
                </a:solidFill>
                <a:highlight>
                  <a:srgbClr val="000000">
                    <a:alpha val="0"/>
                  </a:srgbClr>
                </a:highlight>
                <a:uLnTx/>
                <a:uFillTx/>
                <a:latin typeface="Simsun"/>
                <a:ea typeface="Simsun"/>
                <a:cs typeface="+mn-cs"/>
              </a:rPr>
              <a:t>10</a:t>
            </a:r>
            <a:endParaRPr kumimoji="0" lang="en-US" sz="10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D6000C63-AB55-A8A1-8462-3F4866535D5C}"/>
              </a:ext>
            </a:extLst>
          </p:cNvPr>
          <p:cNvSpPr/>
          <p:nvPr/>
        </p:nvSpPr>
        <p:spPr>
          <a:xfrm>
            <a:off x="830094" y="2503252"/>
            <a:ext cx="10583693" cy="2133600"/>
          </a:xfrm>
          <a:prstGeom prst="rect">
            <a:avLst/>
          </a:prstGeom>
          <a:ln>
            <a:noFill/>
          </a:ln>
        </p:spPr>
        <p:txBody>
          <a:bodyPr wrap="square" numCol="2" rtlCol="0" anchor="ctr">
            <a:noAutofit/>
          </a:bodyPr>
          <a:lstStyle/>
          <a:p>
            <a:pPr marL="0" marR="0" lvl="0" indent="0" algn="l" defTabSz="914400" rtl="0" eaLnBrk="1" fontAlgn="auto" latinLnBrk="0" hangingPunct="1">
              <a:lnSpc>
                <a:spcPct val="100000"/>
              </a:lnSpc>
              <a:spcBef>
                <a:spcPct val="0"/>
              </a:spcBef>
              <a:spcAft>
                <a:spcPts val="1200"/>
              </a:spcAft>
              <a:buClrTx/>
              <a:buSzTx/>
              <a:buFontTx/>
              <a:buNone/>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
        <p:nvSpPr>
          <p:cNvPr id="5" name="TextBox 4">
            <a:extLst>
              <a:ext uri="{FF2B5EF4-FFF2-40B4-BE49-F238E27FC236}">
                <a16:creationId xmlns:a16="http://schemas.microsoft.com/office/drawing/2014/main" id="{38CD22B8-BB04-4AF4-B843-E8DCA694CBF0}"/>
              </a:ext>
            </a:extLst>
          </p:cNvPr>
          <p:cNvSpPr txBox="1"/>
          <p:nvPr/>
        </p:nvSpPr>
        <p:spPr>
          <a:xfrm>
            <a:off x="4290347" y="5656007"/>
            <a:ext cx="5000561" cy="923330"/>
          </a:xfrm>
          <a:prstGeom prst="rect">
            <a:avLst/>
          </a:prstGeom>
          <a:noFill/>
        </p:spPr>
        <p:txBody>
          <a:bodyPr wrap="squar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zh-CN" altLang="en-US" dirty="0">
                <a:solidFill>
                  <a:srgbClr val="000000"/>
                </a:solidFill>
                <a:highlight>
                  <a:srgbClr val="000000">
                    <a:alpha val="0"/>
                  </a:srgbClr>
                </a:highlight>
                <a:latin typeface="Simsun"/>
                <a:ea typeface="Simsun"/>
              </a:rPr>
              <a:t>覆盖</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mn-cs"/>
              </a:rPr>
              <a:t>非生物风险，并与灾害风险管理规划和能力建设挂钩。</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Arrow: Down 8">
            <a:extLst>
              <a:ext uri="{FF2B5EF4-FFF2-40B4-BE49-F238E27FC236}">
                <a16:creationId xmlns:a16="http://schemas.microsoft.com/office/drawing/2014/main" id="{3B351E4C-6FDE-466F-9AC1-39EE1015EF97}"/>
              </a:ext>
            </a:extLst>
          </p:cNvPr>
          <p:cNvSpPr/>
          <p:nvPr/>
        </p:nvSpPr>
        <p:spPr>
          <a:xfrm>
            <a:off x="5890289" y="5031181"/>
            <a:ext cx="408373" cy="424281"/>
          </a:xfrm>
          <a:prstGeom prst="downArrow">
            <a:avLst/>
          </a:prstGeom>
          <a:solidFill>
            <a:schemeClr val="accent4"/>
          </a:solidFill>
          <a:ln>
            <a:noFill/>
          </a:ln>
        </p:spPr>
        <p:txBody>
          <a:bodyPr wrap="square" numCol="2" rtlCol="0" anchor="ctr">
            <a:noAutofit/>
          </a:bodyPr>
          <a:lstStyle/>
          <a:p>
            <a:pPr marL="0" marR="0" lvl="0" indent="0" algn="l" defTabSz="914400" rtl="0" eaLnBrk="1" fontAlgn="auto" latinLnBrk="0" hangingPunct="1">
              <a:lnSpc>
                <a:spcPct val="100000"/>
              </a:lnSpc>
              <a:spcBef>
                <a:spcPct val="0"/>
              </a:spcBef>
              <a:spcAft>
                <a:spcPts val="1200"/>
              </a:spcAft>
              <a:buClrTx/>
              <a:buSzTx/>
              <a:buFontTx/>
              <a:buNone/>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Tree>
    <p:extLst>
      <p:ext uri="{BB962C8B-B14F-4D97-AF65-F5344CB8AC3E}">
        <p14:creationId xmlns:p14="http://schemas.microsoft.com/office/powerpoint/2010/main" val="152063391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D38EE57-B708-47C9-A4A4-E25F09FAB0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57A28182-58A5-4DBB-8F64-BD944BCA815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9710" y="635715"/>
            <a:ext cx="11142208" cy="2482136"/>
            <a:chOff x="409710" y="635715"/>
            <a:chExt cx="11142208" cy="2482136"/>
          </a:xfrm>
        </p:grpSpPr>
        <p:sp>
          <p:nvSpPr>
            <p:cNvPr id="15" name="Freeform 44">
              <a:extLst>
                <a:ext uri="{FF2B5EF4-FFF2-40B4-BE49-F238E27FC236}">
                  <a16:creationId xmlns:a16="http://schemas.microsoft.com/office/drawing/2014/main" id="{E4A9080E-7BA6-45FC-8677-8B9D5F4DAF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6"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45">
              <a:extLst>
                <a:ext uri="{FF2B5EF4-FFF2-40B4-BE49-F238E27FC236}">
                  <a16:creationId xmlns:a16="http://schemas.microsoft.com/office/drawing/2014/main" id="{2163D516-75D4-4DE0-AC27-63719125AE5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46">
              <a:extLst>
                <a:ext uri="{FF2B5EF4-FFF2-40B4-BE49-F238E27FC236}">
                  <a16:creationId xmlns:a16="http://schemas.microsoft.com/office/drawing/2014/main" id="{E74A26A5-C23A-46D4-B0FF-155FB38346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7">
              <a:extLst>
                <a:ext uri="{FF2B5EF4-FFF2-40B4-BE49-F238E27FC236}">
                  <a16:creationId xmlns:a16="http://schemas.microsoft.com/office/drawing/2014/main" id="{08E0243F-1062-43C6-AD04-130DFF66840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5"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94C5517B-1B0F-47AA-93A5-36718996986F}"/>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A5814D3E-18B4-452F-83F9-5684426FF2BE}"/>
              </a:ext>
            </a:extLst>
          </p:cNvPr>
          <p:cNvSpPr>
            <a:spLocks noGrp="1"/>
          </p:cNvSpPr>
          <p:nvPr>
            <p:ph type="title"/>
          </p:nvPr>
        </p:nvSpPr>
        <p:spPr>
          <a:xfrm>
            <a:off x="1047280" y="759805"/>
            <a:ext cx="10306520" cy="1325563"/>
          </a:xfrm>
        </p:spPr>
        <p:txBody>
          <a:bodyPr vert="horz" lIns="91440" tIns="45720" rIns="91440" bIns="45720" rtlCol="0">
            <a:noAutofit/>
          </a:bodyPr>
          <a:lstStyle/>
          <a:p>
            <a:pPr rtl="0"/>
            <a:r>
              <a:rPr lang="zh-Hans" sz="4000" b="1" i="0" u="none" strike="noStrike" kern="1200">
                <a:solidFill>
                  <a:srgbClr val="FFFFFF"/>
                </a:solidFill>
                <a:highlight>
                  <a:srgbClr val="000000">
                    <a:alpha val="0"/>
                  </a:srgbClr>
                </a:highlight>
                <a:latin typeface="Simsun"/>
                <a:ea typeface="Simsun"/>
                <a:cs typeface="+mj-cs"/>
              </a:rPr>
              <a:t>5年NAPHS &amp;</a:t>
            </a:r>
            <a:br>
              <a:rPr lang="zh-Hans" sz="4000" b="1" i="0" u="none" strike="noStrike" kern="1200">
                <a:solidFill>
                  <a:srgbClr val="FFFFFF"/>
                </a:solidFill>
                <a:highlight>
                  <a:srgbClr val="000000">
                    <a:alpha val="0"/>
                  </a:srgbClr>
                </a:highlight>
                <a:latin typeface="Simsun"/>
                <a:ea typeface="Simsun"/>
                <a:cs typeface="+mj-cs"/>
              </a:rPr>
            </a:br>
            <a:r>
              <a:rPr lang="zh-Hans" sz="4000" b="1" i="0" u="none" strike="noStrike" kern="1200">
                <a:solidFill>
                  <a:srgbClr val="FFFFFF"/>
                </a:solidFill>
                <a:highlight>
                  <a:srgbClr val="000000">
                    <a:alpha val="0"/>
                  </a:srgbClr>
                </a:highlight>
                <a:latin typeface="Simsun"/>
                <a:ea typeface="Simsun"/>
                <a:cs typeface="+mj-cs"/>
              </a:rPr>
              <a:t>12-24个月的优先行动计划</a:t>
            </a:r>
          </a:p>
        </p:txBody>
      </p:sp>
      <p:pic>
        <p:nvPicPr>
          <p:cNvPr id="3" name="Picture 2">
            <a:extLst>
              <a:ext uri="{FF2B5EF4-FFF2-40B4-BE49-F238E27FC236}">
                <a16:creationId xmlns:a16="http://schemas.microsoft.com/office/drawing/2014/main" id="{A29CE933-34AF-4CEE-82FF-0805B8E81EC0}"/>
              </a:ext>
            </a:extLst>
          </p:cNvPr>
          <p:cNvPicPr>
            <a:picLocks noChangeAspect="1"/>
          </p:cNvPicPr>
          <p:nvPr/>
        </p:nvPicPr>
        <p:blipFill>
          <a:blip r:embed="rId3"/>
          <a:stretch>
            <a:fillRect/>
          </a:stretch>
        </p:blipFill>
        <p:spPr>
          <a:xfrm>
            <a:off x="9097102" y="675519"/>
            <a:ext cx="2515124" cy="1266481"/>
          </a:xfrm>
          <a:prstGeom prst="rect">
            <a:avLst/>
          </a:prstGeom>
        </p:spPr>
      </p:pic>
      <p:sp>
        <p:nvSpPr>
          <p:cNvPr id="4" name="Slide Number Placeholder 3">
            <a:extLst>
              <a:ext uri="{FF2B5EF4-FFF2-40B4-BE49-F238E27FC236}">
                <a16:creationId xmlns:a16="http://schemas.microsoft.com/office/drawing/2014/main" id="{63EFA781-F457-448D-B243-3029F6B705B8}"/>
              </a:ext>
            </a:extLst>
          </p:cNvPr>
          <p:cNvSpPr>
            <a:spLocks noGrp="1"/>
          </p:cNvSpPr>
          <p:nvPr>
            <p:ph type="sldNum" sz="quarter" idx="12"/>
          </p:nvPr>
        </p:nvSpPr>
        <p:spPr>
          <a:xfrm>
            <a:off x="10707624" y="6382512"/>
            <a:ext cx="685800" cy="320040"/>
          </a:xfrm>
        </p:spPr>
        <p:txBody>
          <a:bodyPr vert="horz" lIns="91440" tIns="45720" rIns="91440" bIns="45720" rtlCol="0">
            <a:noAutofit/>
          </a:bodyPr>
          <a:lstStyle/>
          <a:p>
            <a:pPr marL="0" marR="0" lvl="0" indent="0" algn="r" defTabSz="914400" rtl="0" eaLnBrk="1" fontAlgn="auto" latinLnBrk="0" hangingPunct="1">
              <a:lnSpc>
                <a:spcPct val="100000"/>
              </a:lnSpc>
              <a:spcBef>
                <a:spcPct val="0"/>
              </a:spcBef>
              <a:spcAft>
                <a:spcPts val="600"/>
              </a:spcAft>
              <a:buClrTx/>
              <a:buSzTx/>
              <a:buFontTx/>
              <a:buNone/>
              <a:defRPr/>
            </a:pPr>
            <a:r>
              <a:rPr kumimoji="0" lang="zh-Hans" sz="1000" b="0" i="0" u="none" strike="noStrike" kern="1200" cap="none" spc="0" normalizeH="0" baseline="0" noProof="0">
                <a:solidFill>
                  <a:srgbClr val="898989"/>
                </a:solidFill>
                <a:highlight>
                  <a:srgbClr val="000000">
                    <a:alpha val="0"/>
                  </a:srgbClr>
                </a:highlight>
                <a:uLnTx/>
                <a:uFillTx/>
                <a:latin typeface="Simsun"/>
                <a:ea typeface="Simsun"/>
                <a:cs typeface="+mn-cs"/>
              </a:rPr>
              <a:t>11</a:t>
            </a:r>
            <a:endParaRPr kumimoji="0" lang="en-US" sz="10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D6000C63-AB55-A8A1-8462-3F4866535D5C}"/>
              </a:ext>
            </a:extLst>
          </p:cNvPr>
          <p:cNvSpPr/>
          <p:nvPr/>
        </p:nvSpPr>
        <p:spPr>
          <a:xfrm>
            <a:off x="830094" y="2503252"/>
            <a:ext cx="10583693" cy="2133600"/>
          </a:xfrm>
          <a:prstGeom prst="rect">
            <a:avLst/>
          </a:prstGeom>
          <a:ln>
            <a:noFill/>
          </a:ln>
        </p:spPr>
        <p:txBody>
          <a:bodyPr wrap="square" numCol="2" rtlCol="0" anchor="ctr">
            <a:noAutofit/>
          </a:bodyPr>
          <a:lstStyle/>
          <a:p>
            <a:pPr marL="0" marR="0" lvl="0" indent="0" algn="l" defTabSz="914400" rtl="0" eaLnBrk="1" fontAlgn="auto" latinLnBrk="0" hangingPunct="1">
              <a:lnSpc>
                <a:spcPct val="100000"/>
              </a:lnSpc>
              <a:spcBef>
                <a:spcPct val="0"/>
              </a:spcBef>
              <a:spcAft>
                <a:spcPts val="1200"/>
              </a:spcAft>
              <a:buClrTx/>
              <a:buSzTx/>
              <a:buFontTx/>
              <a:buNone/>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
        <p:nvSpPr>
          <p:cNvPr id="9" name="Arrow: Down 8">
            <a:extLst>
              <a:ext uri="{FF2B5EF4-FFF2-40B4-BE49-F238E27FC236}">
                <a16:creationId xmlns:a16="http://schemas.microsoft.com/office/drawing/2014/main" id="{3B351E4C-6FDE-466F-9AC1-39EE1015EF97}"/>
              </a:ext>
            </a:extLst>
          </p:cNvPr>
          <p:cNvSpPr/>
          <p:nvPr/>
        </p:nvSpPr>
        <p:spPr>
          <a:xfrm>
            <a:off x="5890289" y="5031181"/>
            <a:ext cx="408373" cy="424281"/>
          </a:xfrm>
          <a:prstGeom prst="downArrow">
            <a:avLst/>
          </a:prstGeom>
          <a:solidFill>
            <a:schemeClr val="accent4"/>
          </a:solidFill>
          <a:ln>
            <a:noFill/>
          </a:ln>
        </p:spPr>
        <p:txBody>
          <a:bodyPr wrap="square" numCol="2" rtlCol="0" anchor="ctr">
            <a:noAutofit/>
          </a:bodyPr>
          <a:lstStyle/>
          <a:p>
            <a:pPr marL="0" marR="0" lvl="0" indent="0" algn="l" defTabSz="914400" rtl="0" eaLnBrk="1" fontAlgn="auto" latinLnBrk="0" hangingPunct="1">
              <a:lnSpc>
                <a:spcPct val="100000"/>
              </a:lnSpc>
              <a:spcBef>
                <a:spcPct val="0"/>
              </a:spcBef>
              <a:spcAft>
                <a:spcPts val="1200"/>
              </a:spcAft>
              <a:buClrTx/>
              <a:buSzTx/>
              <a:buFontTx/>
              <a:buNone/>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graphicFrame>
        <p:nvGraphicFramePr>
          <p:cNvPr id="20" name="Table 19">
            <a:extLst>
              <a:ext uri="{FF2B5EF4-FFF2-40B4-BE49-F238E27FC236}">
                <a16:creationId xmlns:a16="http://schemas.microsoft.com/office/drawing/2014/main" id="{368A12E3-8DC5-4B8F-A5C8-822D537C5390}"/>
              </a:ext>
            </a:extLst>
          </p:cNvPr>
          <p:cNvGraphicFramePr>
            <a:graphicFrameLocks noGrp="1"/>
          </p:cNvGraphicFramePr>
          <p:nvPr>
            <p:extLst>
              <p:ext uri="{D42A27DB-BD31-4B8C-83A1-F6EECF244321}">
                <p14:modId xmlns:p14="http://schemas.microsoft.com/office/powerpoint/2010/main" val="1177457933"/>
              </p:ext>
            </p:extLst>
          </p:nvPr>
        </p:nvGraphicFramePr>
        <p:xfrm>
          <a:off x="644055" y="2660673"/>
          <a:ext cx="11190287" cy="3331120"/>
        </p:xfrm>
        <a:graphic>
          <a:graphicData uri="http://schemas.openxmlformats.org/drawingml/2006/table">
            <a:tbl>
              <a:tblPr/>
              <a:tblGrid>
                <a:gridCol w="1252539">
                  <a:extLst>
                    <a:ext uri="{9D8B030D-6E8A-4147-A177-3AD203B41FA5}">
                      <a16:colId xmlns:a16="http://schemas.microsoft.com/office/drawing/2014/main" val="3269219705"/>
                    </a:ext>
                  </a:extLst>
                </a:gridCol>
                <a:gridCol w="4257675">
                  <a:extLst>
                    <a:ext uri="{9D8B030D-6E8A-4147-A177-3AD203B41FA5}">
                      <a16:colId xmlns:a16="http://schemas.microsoft.com/office/drawing/2014/main" val="679210137"/>
                    </a:ext>
                  </a:extLst>
                </a:gridCol>
                <a:gridCol w="5680073">
                  <a:extLst>
                    <a:ext uri="{9D8B030D-6E8A-4147-A177-3AD203B41FA5}">
                      <a16:colId xmlns:a16="http://schemas.microsoft.com/office/drawing/2014/main" val="174102408"/>
                    </a:ext>
                  </a:extLst>
                </a:gridCol>
              </a:tblGrid>
              <a:tr h="54584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auto"/>
                      <a:r>
                        <a:rPr lang="zh-Hans" sz="1600" b="0" i="0" u="none" strike="noStrike">
                          <a:solidFill>
                            <a:srgbClr val="000000"/>
                          </a:solidFill>
                          <a:highlight>
                            <a:srgbClr val="000000">
                              <a:alpha val="0"/>
                            </a:srgbClr>
                          </a:highlight>
                          <a:latin typeface="Simsun"/>
                          <a:ea typeface="Simsun"/>
                        </a:rPr>
                        <a:t>​</a:t>
                      </a:r>
                      <a:br>
                        <a:rPr lang="zh-Hans" sz="1600" b="0" i="0" u="none" strike="noStrike">
                          <a:solidFill>
                            <a:srgbClr val="000000"/>
                          </a:solidFill>
                          <a:highlight>
                            <a:srgbClr val="000000">
                              <a:alpha val="0"/>
                            </a:srgbClr>
                          </a:highlight>
                          <a:latin typeface="Simsun"/>
                          <a:ea typeface="Simsun"/>
                        </a:rPr>
                      </a:br>
                      <a:r>
                        <a:rPr lang="zh-Hans" sz="1600" b="0" i="0" u="none" strike="noStrike">
                          <a:solidFill>
                            <a:srgbClr val="000000"/>
                          </a:solidFill>
                          <a:highlight>
                            <a:srgbClr val="000000">
                              <a:alpha val="0"/>
                            </a:srgbClr>
                          </a:highlight>
                          <a:latin typeface="Simsun"/>
                          <a:ea typeface="Simsun"/>
                        </a:rPr>
                        <a:t>​</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zh-Hans" sz="1600" b="1" i="1" u="none" strike="noStrike">
                          <a:solidFill>
                            <a:srgbClr val="000000"/>
                          </a:solidFill>
                          <a:highlight>
                            <a:srgbClr val="000000">
                              <a:alpha val="0"/>
                            </a:srgbClr>
                          </a:highlight>
                          <a:latin typeface="Simsun"/>
                          <a:ea typeface="Simsun"/>
                        </a:rPr>
                        <a:t>5年战略</a:t>
                      </a:r>
                      <a:r>
                        <a:rPr lang="zh-Hans" sz="1600" b="0" i="1" u="none" strike="noStrike">
                          <a:solidFill>
                            <a:srgbClr val="000000"/>
                          </a:solidFill>
                          <a:highlight>
                            <a:srgbClr val="000000">
                              <a:alpha val="0"/>
                            </a:srgbClr>
                          </a:highlight>
                          <a:latin typeface="Simsun"/>
                          <a:ea typeface="Simsun"/>
                        </a:rPr>
                        <a:t>计划</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zh-Hans" sz="1600" b="1" i="1" u="none" strike="noStrike">
                          <a:solidFill>
                            <a:srgbClr val="000000"/>
                          </a:solidFill>
                          <a:highlight>
                            <a:srgbClr val="000000">
                              <a:alpha val="0"/>
                            </a:srgbClr>
                          </a:highlight>
                          <a:latin typeface="Simsun"/>
                          <a:ea typeface="Simsun"/>
                        </a:rPr>
                        <a:t>12-24个月运营</a:t>
                      </a:r>
                      <a:r>
                        <a:rPr lang="zh-Hans" sz="1600" b="0" i="1" u="none" strike="noStrike">
                          <a:solidFill>
                            <a:srgbClr val="000000"/>
                          </a:solidFill>
                          <a:highlight>
                            <a:srgbClr val="000000">
                              <a:alpha val="0"/>
                            </a:srgbClr>
                          </a:highlight>
                          <a:latin typeface="Simsun"/>
                          <a:ea typeface="Simsun"/>
                        </a:rPr>
                        <a:t>计划</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extLst>
                  <a:ext uri="{0D108BD9-81ED-4DB2-BD59-A6C34878D82A}">
                    <a16:rowId xmlns:a16="http://schemas.microsoft.com/office/drawing/2014/main" val="3997185388"/>
                  </a:ext>
                </a:extLst>
              </a:tr>
              <a:tr h="121765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zh-Hans" sz="1600" b="1" i="1" u="none" strike="noStrike">
                          <a:solidFill>
                            <a:srgbClr val="000000"/>
                          </a:solidFill>
                          <a:highlight>
                            <a:srgbClr val="000000">
                              <a:alpha val="0"/>
                            </a:srgbClr>
                          </a:highlight>
                          <a:latin typeface="Simsun"/>
                          <a:ea typeface="Simsun"/>
                        </a:rPr>
                        <a:t>时间跨度</a:t>
                      </a:r>
                      <a:endParaRPr lang="zh-Hans" sz="1600" b="0" i="1" u="none" strike="noStrike">
                        <a:solidFill>
                          <a:srgbClr val="000000"/>
                        </a:solidFill>
                        <a:highlight>
                          <a:srgbClr val="000000">
                            <a:alpha val="0"/>
                          </a:srgbClr>
                        </a:highlight>
                        <a:latin typeface="Simsun"/>
                        <a:ea typeface="Simsun"/>
                      </a:endParaRP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5750" indent="-285750" algn="l" rtl="0" fontAlgn="base">
                        <a:buFont typeface="Arial" panose="020B0604020202020204" pitchFamily="34" charset="0"/>
                        <a:buChar char="•"/>
                      </a:pPr>
                      <a:r>
                        <a:rPr lang="zh-Hans" sz="1600" b="0" i="0" u="none" strike="noStrike" dirty="0">
                          <a:solidFill>
                            <a:srgbClr val="000000"/>
                          </a:solidFill>
                          <a:highlight>
                            <a:srgbClr val="000000">
                              <a:alpha val="0"/>
                            </a:srgbClr>
                          </a:highlight>
                          <a:latin typeface="Simsun"/>
                          <a:ea typeface="Simsun"/>
                        </a:rPr>
                        <a:t>提出</a:t>
                      </a:r>
                      <a:r>
                        <a:rPr lang="zh-Hans" sz="1600" b="1" i="0" u="none" strike="noStrike" dirty="0">
                          <a:solidFill>
                            <a:srgbClr val="000000"/>
                          </a:solidFill>
                          <a:highlight>
                            <a:srgbClr val="000000">
                              <a:alpha val="0"/>
                            </a:srgbClr>
                          </a:highlight>
                          <a:latin typeface="Simsun"/>
                          <a:ea typeface="Simsun"/>
                        </a:rPr>
                        <a:t>关键目标或</a:t>
                      </a:r>
                      <a:r>
                        <a:rPr lang="zh-Hans" altLang="en-US" sz="1600" b="1" i="0" u="none" strike="noStrike" kern="1200" dirty="0">
                          <a:solidFill>
                            <a:srgbClr val="000000"/>
                          </a:solidFill>
                          <a:highlight>
                            <a:srgbClr val="000000">
                              <a:alpha val="0"/>
                            </a:srgbClr>
                          </a:highlight>
                          <a:latin typeface="Simsun"/>
                          <a:ea typeface="Simsun"/>
                          <a:cs typeface="+mn-cs"/>
                        </a:rPr>
                        <a:t>结果</a:t>
                      </a:r>
                    </a:p>
                    <a:p>
                      <a:pPr marL="285750" indent="-285750" algn="l" rtl="0" fontAlgn="base">
                        <a:buFont typeface="Arial" panose="020B0604020202020204" pitchFamily="34" charset="0"/>
                        <a:buChar char="•"/>
                      </a:pPr>
                      <a:r>
                        <a:rPr lang="zh-Hans" sz="1600" b="1" i="0" u="none" strike="noStrike" dirty="0">
                          <a:solidFill>
                            <a:srgbClr val="000000"/>
                          </a:solidFill>
                          <a:highlight>
                            <a:srgbClr val="000000">
                              <a:alpha val="0"/>
                            </a:srgbClr>
                          </a:highlight>
                          <a:latin typeface="Simsun"/>
                          <a:ea typeface="Simsun"/>
                        </a:rPr>
                        <a:t>通过制定年度运营计划</a:t>
                      </a:r>
                      <a:r>
                        <a:rPr lang="zh-Hans" sz="1600" b="0" i="0" u="none" strike="noStrike" dirty="0">
                          <a:solidFill>
                            <a:srgbClr val="000000"/>
                          </a:solidFill>
                          <a:highlight>
                            <a:srgbClr val="000000">
                              <a:alpha val="0"/>
                            </a:srgbClr>
                          </a:highlight>
                          <a:latin typeface="Simsun"/>
                          <a:ea typeface="Simsun"/>
                        </a:rPr>
                        <a:t>使之可实施 </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5750" indent="-285750" algn="l" rtl="0" fontAlgn="base">
                        <a:buFont typeface="Arial" panose="020B0604020202020204" pitchFamily="34" charset="0"/>
                        <a:buChar char="•"/>
                      </a:pPr>
                      <a:r>
                        <a:rPr lang="zh-Hans" sz="1600" b="1" i="0" u="none" strike="noStrike" dirty="0">
                          <a:solidFill>
                            <a:srgbClr val="000000"/>
                          </a:solidFill>
                          <a:highlight>
                            <a:srgbClr val="000000">
                              <a:alpha val="0"/>
                            </a:srgbClr>
                          </a:highlight>
                          <a:latin typeface="Simsun"/>
                          <a:ea typeface="Simsun"/>
                        </a:rPr>
                        <a:t>提出主要产出和活动</a:t>
                      </a:r>
                    </a:p>
                    <a:p>
                      <a:pPr marL="285750" indent="-285750" algn="l" rtl="0" fontAlgn="base">
                        <a:buFont typeface="Arial" panose="020B0604020202020204" pitchFamily="34" charset="0"/>
                        <a:buChar char="•"/>
                      </a:pPr>
                      <a:r>
                        <a:rPr lang="zh-Hans" sz="1600" b="0" i="0" u="none" strike="noStrike" dirty="0">
                          <a:solidFill>
                            <a:srgbClr val="000000"/>
                          </a:solidFill>
                          <a:highlight>
                            <a:srgbClr val="000000">
                              <a:alpha val="0"/>
                            </a:srgbClr>
                          </a:highlight>
                          <a:latin typeface="Simsun"/>
                          <a:ea typeface="Simsun"/>
                        </a:rPr>
                        <a:t>通过关注有助于实现战略计划中</a:t>
                      </a:r>
                      <a:r>
                        <a:rPr lang="zh-Hans" sz="1600" b="1" i="0" u="none" strike="noStrike" dirty="0">
                          <a:solidFill>
                            <a:srgbClr val="000000"/>
                          </a:solidFill>
                          <a:highlight>
                            <a:srgbClr val="000000">
                              <a:alpha val="0"/>
                            </a:srgbClr>
                          </a:highlight>
                          <a:latin typeface="Simsun"/>
                          <a:ea typeface="Simsun"/>
                        </a:rPr>
                        <a:t>目标成果</a:t>
                      </a:r>
                      <a:r>
                        <a:rPr lang="zh-Hans" sz="1600" b="0" i="0" u="none" strike="noStrike" dirty="0">
                          <a:solidFill>
                            <a:srgbClr val="000000"/>
                          </a:solidFill>
                          <a:highlight>
                            <a:srgbClr val="000000">
                              <a:alpha val="0"/>
                            </a:srgbClr>
                          </a:highlight>
                          <a:latin typeface="Simsun"/>
                          <a:ea typeface="Simsun"/>
                        </a:rPr>
                        <a:t>的</a:t>
                      </a:r>
                      <a:r>
                        <a:rPr lang="zh-Hans" sz="1600" b="1" i="0" u="none" strike="noStrike" dirty="0">
                          <a:solidFill>
                            <a:srgbClr val="000000"/>
                          </a:solidFill>
                          <a:highlight>
                            <a:srgbClr val="000000">
                              <a:alpha val="0"/>
                            </a:srgbClr>
                          </a:highlight>
                          <a:latin typeface="Simsun"/>
                          <a:ea typeface="Simsun"/>
                        </a:rPr>
                        <a:t>短期优先行动 </a:t>
                      </a:r>
                      <a:r>
                        <a:rPr lang="zh-Hans" sz="1600" b="0" i="0" u="none" strike="noStrike" dirty="0">
                          <a:solidFill>
                            <a:srgbClr val="000000"/>
                          </a:solidFill>
                          <a:highlight>
                            <a:srgbClr val="000000">
                              <a:alpha val="0"/>
                            </a:srgbClr>
                          </a:highlight>
                          <a:latin typeface="Simsun"/>
                          <a:ea typeface="Simsun"/>
                        </a:rPr>
                        <a:t>，使战略计划可实施</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88570355"/>
                  </a:ext>
                </a:extLst>
              </a:tr>
              <a:tr h="156762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base"/>
                      <a:r>
                        <a:rPr lang="zh-Hans" sz="1600" b="1" i="1" u="none" strike="noStrike">
                          <a:solidFill>
                            <a:srgbClr val="000000"/>
                          </a:solidFill>
                          <a:highlight>
                            <a:srgbClr val="000000">
                              <a:alpha val="0"/>
                            </a:srgbClr>
                          </a:highlight>
                          <a:latin typeface="Simsun"/>
                          <a:ea typeface="Simsun"/>
                        </a:rPr>
                        <a:t>数值</a:t>
                      </a:r>
                      <a:endParaRPr lang="zh-Hans" sz="1600" b="0" i="1" u="none" strike="noStrike">
                        <a:solidFill>
                          <a:srgbClr val="000000"/>
                        </a:solidFill>
                        <a:highlight>
                          <a:srgbClr val="000000">
                            <a:alpha val="0"/>
                          </a:srgbClr>
                        </a:highlight>
                        <a:latin typeface="Simsun"/>
                        <a:ea typeface="Simsun"/>
                      </a:endParaRP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5750" indent="-285750" algn="l" rtl="0" fontAlgn="base">
                        <a:buFont typeface="Arial" panose="020B0604020202020204" pitchFamily="34" charset="0"/>
                        <a:buChar char="•"/>
                      </a:pPr>
                      <a:r>
                        <a:rPr lang="zh-Hans" sz="1600" b="0" i="0" u="none" strike="noStrike" dirty="0">
                          <a:solidFill>
                            <a:srgbClr val="000000"/>
                          </a:solidFill>
                          <a:highlight>
                            <a:srgbClr val="000000">
                              <a:alpha val="0"/>
                            </a:srgbClr>
                          </a:highlight>
                          <a:latin typeface="Simsun"/>
                          <a:ea typeface="Simsun"/>
                        </a:rPr>
                        <a:t>通过确定长期资金需求，支持</a:t>
                      </a:r>
                      <a:r>
                        <a:rPr lang="zh-Hans" sz="1600" b="1" i="0" u="none" strike="noStrike" dirty="0">
                          <a:solidFill>
                            <a:srgbClr val="000000"/>
                          </a:solidFill>
                          <a:highlight>
                            <a:srgbClr val="000000">
                              <a:alpha val="0"/>
                            </a:srgbClr>
                          </a:highlight>
                          <a:latin typeface="Simsun"/>
                          <a:ea typeface="Simsun"/>
                        </a:rPr>
                        <a:t>在国内和通过合作伙伴进行融资</a:t>
                      </a:r>
                      <a:r>
                        <a:rPr lang="zh-Hans" sz="1600" b="0" i="0" u="none" strike="noStrike" dirty="0">
                          <a:solidFill>
                            <a:srgbClr val="000000"/>
                          </a:solidFill>
                          <a:highlight>
                            <a:srgbClr val="000000">
                              <a:alpha val="0"/>
                            </a:srgbClr>
                          </a:highlight>
                          <a:latin typeface="Simsun"/>
                          <a:ea typeface="Simsun"/>
                        </a:rPr>
                        <a:t>宣传</a:t>
                      </a:r>
                    </a:p>
                    <a:p>
                      <a:pPr marL="285750" indent="-285750" algn="l" rtl="0" fontAlgn="base">
                        <a:buFont typeface="Arial" panose="020B0604020202020204" pitchFamily="34" charset="0"/>
                        <a:buChar char="•"/>
                      </a:pPr>
                      <a:r>
                        <a:rPr lang="zh-Hans" sz="1600" b="1" i="0" u="none" strike="noStrike" dirty="0">
                          <a:solidFill>
                            <a:srgbClr val="000000"/>
                          </a:solidFill>
                          <a:highlight>
                            <a:srgbClr val="000000">
                              <a:alpha val="0"/>
                            </a:srgbClr>
                          </a:highlight>
                          <a:latin typeface="Simsun"/>
                          <a:ea typeface="Simsun"/>
                        </a:rPr>
                        <a:t>获得高</a:t>
                      </a:r>
                      <a:r>
                        <a:rPr lang="zh-CN" altLang="en-US" sz="1600" b="1" i="0" u="none" strike="noStrike" dirty="0">
                          <a:solidFill>
                            <a:srgbClr val="000000"/>
                          </a:solidFill>
                          <a:highlight>
                            <a:srgbClr val="000000">
                              <a:alpha val="0"/>
                            </a:srgbClr>
                          </a:highlight>
                          <a:latin typeface="Simsun"/>
                          <a:ea typeface="Simsun"/>
                        </a:rPr>
                        <a:t>水平</a:t>
                      </a:r>
                      <a:r>
                        <a:rPr lang="zh-Hans" sz="1600" b="1" i="0" u="none" strike="noStrike" dirty="0">
                          <a:solidFill>
                            <a:srgbClr val="000000"/>
                          </a:solidFill>
                          <a:highlight>
                            <a:srgbClr val="000000">
                              <a:alpha val="0"/>
                            </a:srgbClr>
                          </a:highlight>
                          <a:latin typeface="Simsun"/>
                          <a:ea typeface="Simsun"/>
                        </a:rPr>
                        <a:t>的支持</a:t>
                      </a:r>
                      <a:endParaRPr lang="zh-Hans" sz="1600" b="0" i="0" u="none" strike="noStrike" dirty="0">
                        <a:solidFill>
                          <a:srgbClr val="000000"/>
                        </a:solidFill>
                        <a:highlight>
                          <a:srgbClr val="000000">
                            <a:alpha val="0"/>
                          </a:srgbClr>
                        </a:highlight>
                        <a:latin typeface="Simsun"/>
                        <a:ea typeface="Simsun"/>
                      </a:endParaRPr>
                    </a:p>
                    <a:p>
                      <a:pPr marL="285750" indent="-285750" algn="l" rtl="0" fontAlgn="base">
                        <a:buFont typeface="Arial" panose="020B0604020202020204" pitchFamily="34" charset="0"/>
                        <a:buChar char="•"/>
                      </a:pPr>
                      <a:r>
                        <a:rPr lang="zh-Hans" sz="1600" b="0" i="0" u="none" strike="noStrike" dirty="0">
                          <a:solidFill>
                            <a:srgbClr val="000000"/>
                          </a:solidFill>
                          <a:highlight>
                            <a:srgbClr val="000000">
                              <a:alpha val="0"/>
                            </a:srgbClr>
                          </a:highlight>
                          <a:latin typeface="Simsun"/>
                          <a:ea typeface="Simsun"/>
                        </a:rPr>
                        <a:t>作为战略路线图，帮助</a:t>
                      </a:r>
                      <a:r>
                        <a:rPr lang="zh-Hans" sz="1600" b="1" i="0" u="none" strike="noStrike" dirty="0">
                          <a:solidFill>
                            <a:srgbClr val="000000"/>
                          </a:solidFill>
                          <a:highlight>
                            <a:srgbClr val="000000">
                              <a:alpha val="0"/>
                            </a:srgbClr>
                          </a:highlight>
                          <a:latin typeface="Simsun"/>
                          <a:ea typeface="Simsun"/>
                        </a:rPr>
                        <a:t>保持多部门的长期协调一致</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5750" indent="-285750" algn="l" rtl="0" fontAlgn="base">
                        <a:buFont typeface="Arial" panose="020B0604020202020204" pitchFamily="34" charset="0"/>
                        <a:buChar char="•"/>
                      </a:pPr>
                      <a:r>
                        <a:rPr lang="zh-Hans" sz="1600" b="0" i="0" u="none" strike="noStrike" dirty="0">
                          <a:solidFill>
                            <a:srgbClr val="000000"/>
                          </a:solidFill>
                          <a:highlight>
                            <a:srgbClr val="000000">
                              <a:alpha val="0"/>
                            </a:srgbClr>
                          </a:highlight>
                          <a:latin typeface="Simsun"/>
                          <a:ea typeface="Simsun"/>
                        </a:rPr>
                        <a:t>有助于在更易管理的时间框架内进行</a:t>
                      </a:r>
                      <a:r>
                        <a:rPr lang="zh-Hans" sz="1600" b="1" i="0" u="none" strike="noStrike" dirty="0">
                          <a:solidFill>
                            <a:srgbClr val="000000"/>
                          </a:solidFill>
                          <a:highlight>
                            <a:srgbClr val="000000">
                              <a:alpha val="0"/>
                            </a:srgbClr>
                          </a:highlight>
                          <a:latin typeface="Simsun"/>
                          <a:ea typeface="Simsun"/>
                        </a:rPr>
                        <a:t>可追踪的实施 </a:t>
                      </a:r>
                    </a:p>
                    <a:p>
                      <a:pPr marL="285750" indent="-285750" algn="l" rtl="0" fontAlgn="base">
                        <a:buFont typeface="Arial" panose="020B0604020202020204" pitchFamily="34" charset="0"/>
                        <a:buChar char="•"/>
                      </a:pPr>
                      <a:r>
                        <a:rPr lang="zh-Hans" sz="1600" b="0" i="0" u="none" strike="noStrike" dirty="0">
                          <a:solidFill>
                            <a:srgbClr val="000000"/>
                          </a:solidFill>
                          <a:highlight>
                            <a:srgbClr val="000000">
                              <a:alpha val="0"/>
                            </a:srgbClr>
                          </a:highlight>
                          <a:latin typeface="Simsun"/>
                          <a:ea typeface="Simsun"/>
                        </a:rPr>
                        <a:t>确保 实施方面的</a:t>
                      </a:r>
                      <a:r>
                        <a:rPr lang="zh-Hans" sz="1600" b="1" i="0" u="none" strike="noStrike" dirty="0">
                          <a:solidFill>
                            <a:srgbClr val="000000"/>
                          </a:solidFill>
                          <a:highlight>
                            <a:srgbClr val="000000">
                              <a:alpha val="0"/>
                            </a:srgbClr>
                          </a:highlight>
                          <a:latin typeface="Simsun"/>
                          <a:ea typeface="Simsun"/>
                        </a:rPr>
                        <a:t>问责</a:t>
                      </a:r>
                    </a:p>
                    <a:p>
                      <a:pPr marL="285750" indent="-285750" algn="l" rtl="0" fontAlgn="base">
                        <a:buFont typeface="Arial" panose="020B0604020202020204" pitchFamily="34" charset="0"/>
                        <a:buChar char="•"/>
                      </a:pPr>
                      <a:r>
                        <a:rPr lang="zh-Hans" sz="1600" b="0" i="0" u="none" strike="noStrike" dirty="0">
                          <a:solidFill>
                            <a:srgbClr val="000000"/>
                          </a:solidFill>
                          <a:highlight>
                            <a:srgbClr val="000000">
                              <a:alpha val="0"/>
                            </a:srgbClr>
                          </a:highlight>
                          <a:latin typeface="Simsun"/>
                          <a:ea typeface="Simsun"/>
                        </a:rPr>
                        <a:t>在战略计划和/或更</a:t>
                      </a:r>
                      <a:r>
                        <a:rPr lang="zh-Hans" sz="1600" b="1" i="0" u="none" strike="noStrike" dirty="0">
                          <a:solidFill>
                            <a:srgbClr val="000000"/>
                          </a:solidFill>
                          <a:highlight>
                            <a:srgbClr val="000000">
                              <a:alpha val="0"/>
                            </a:srgbClr>
                          </a:highlight>
                          <a:latin typeface="Simsun"/>
                          <a:ea typeface="Simsun"/>
                        </a:rPr>
                        <a:t>"及时 "的评估 </a:t>
                      </a:r>
                      <a:r>
                        <a:rPr lang="zh-Hans" sz="1600" b="0" i="0" u="none" strike="noStrike" dirty="0">
                          <a:solidFill>
                            <a:srgbClr val="000000"/>
                          </a:solidFill>
                          <a:highlight>
                            <a:srgbClr val="000000">
                              <a:alpha val="0"/>
                            </a:srgbClr>
                          </a:highlight>
                          <a:latin typeface="Simsun"/>
                          <a:ea typeface="Simsun"/>
                        </a:rPr>
                        <a:t>（如AARs、IARs和SPAR）以及基于风险的优先事项（如STAR）的基础上制定和实施</a:t>
                      </a:r>
                      <a:r>
                        <a:rPr lang="zh-Hans" sz="1600" b="1" i="0" u="none" strike="noStrike" dirty="0">
                          <a:solidFill>
                            <a:srgbClr val="000000"/>
                          </a:solidFill>
                          <a:highlight>
                            <a:srgbClr val="000000">
                              <a:alpha val="0"/>
                            </a:srgbClr>
                          </a:highlight>
                          <a:latin typeface="Simsun"/>
                          <a:ea typeface="Simsun"/>
                        </a:rPr>
                        <a:t>明确和具体的活动 </a:t>
                      </a:r>
                      <a:r>
                        <a:rPr lang="zh-Hans" sz="1600" b="0" i="0" u="none" strike="noStrike" dirty="0">
                          <a:solidFill>
                            <a:srgbClr val="000000"/>
                          </a:solidFill>
                          <a:highlight>
                            <a:srgbClr val="000000">
                              <a:alpha val="0"/>
                            </a:srgbClr>
                          </a:highlight>
                          <a:latin typeface="Simsun"/>
                          <a:ea typeface="Simsun"/>
                        </a:rPr>
                        <a:t>。</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5281809"/>
                  </a:ext>
                </a:extLst>
              </a:tr>
            </a:tbl>
          </a:graphicData>
        </a:graphic>
      </p:graphicFrame>
      <p:sp>
        <p:nvSpPr>
          <p:cNvPr id="21" name="Rectangle 20">
            <a:extLst>
              <a:ext uri="{FF2B5EF4-FFF2-40B4-BE49-F238E27FC236}">
                <a16:creationId xmlns:a16="http://schemas.microsoft.com/office/drawing/2014/main" id="{A2D2EA59-E17C-498C-8DB7-208DDFD937EF}"/>
              </a:ext>
            </a:extLst>
          </p:cNvPr>
          <p:cNvSpPr/>
          <p:nvPr/>
        </p:nvSpPr>
        <p:spPr>
          <a:xfrm>
            <a:off x="3534894" y="2347913"/>
            <a:ext cx="5086350" cy="312760"/>
          </a:xfrm>
          <a:prstGeom prst="rect">
            <a:avLst/>
          </a:prstGeom>
          <a:noFill/>
          <a:ln w="19050" cap="sq" cmpd="sng" algn="ctr">
            <a:solidFill>
              <a:srgbClr val="000000"/>
            </a:solidFill>
            <a:prstDash val="sysDot"/>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2000" b="1" i="0" u="none" strike="noStrike" kern="0" cap="none" spc="0" normalizeH="0" baseline="0" noProof="0">
                <a:solidFill>
                  <a:srgbClr val="000000"/>
                </a:solidFill>
                <a:highlight>
                  <a:srgbClr val="000000">
                    <a:alpha val="0"/>
                  </a:srgbClr>
                </a:highlight>
                <a:uLnTx/>
                <a:uFillTx/>
                <a:latin typeface="Simsun"/>
                <a:ea typeface="Simsun"/>
                <a:cs typeface="+mn-cs"/>
              </a:rPr>
              <a:t>战略和运营计划的差异</a:t>
            </a:r>
            <a:endParaRPr kumimoji="0" lang="en-US" sz="2000" b="1" i="0" u="none" strike="noStrike" kern="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91283388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DEB949-C916-45EF-8468-A4BF330993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5" progId="TCLayout.ActiveDocument.1">
                  <p:embed/>
                </p:oleObj>
              </mc:Choice>
              <mc:Fallback>
                <p:oleObj name="think-cell Slide" r:id="rId13" imgW="592" imgH="595" progId="TCLayout.ActiveDocument.1">
                  <p:embed/>
                  <p:pic>
                    <p:nvPicPr>
                      <p:cNvPr id="0" name="OLE substitute imag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079025BD-FC16-4340-85D1-53B741ACEF57}"/>
              </a:ext>
            </a:extLst>
          </p:cNvPr>
          <p:cNvSpPr>
            <a:spLocks noGrp="1"/>
          </p:cNvSpPr>
          <p:nvPr>
            <p:ph type="title"/>
            <p:custDataLst>
              <p:tags r:id="rId2"/>
            </p:custDataLst>
          </p:nvPr>
        </p:nvSpPr>
        <p:spPr>
          <a:xfrm>
            <a:off x="554736" y="135141"/>
            <a:ext cx="11082528" cy="731520"/>
          </a:xfrm>
        </p:spPr>
        <p:txBody>
          <a:bodyPr vert="horz">
            <a:noAutofit/>
          </a:bodyPr>
          <a:lstStyle/>
          <a:p>
            <a:pPr rtl="0"/>
            <a:r>
              <a:rPr lang="zh-Hans" sz="3000" b="1" i="0" u="none" strike="noStrike">
                <a:highlight>
                  <a:srgbClr val="000000">
                    <a:alpha val="0"/>
                  </a:srgbClr>
                </a:highlight>
                <a:latin typeface="Simsun"/>
                <a:ea typeface="Simsun"/>
              </a:rPr>
              <a:t>将（评估风险的战略工具）</a:t>
            </a:r>
            <a:br>
              <a:rPr lang="zh-Hans" sz="3000" b="1" i="0" u="none" strike="noStrike">
                <a:highlight>
                  <a:srgbClr val="000000">
                    <a:alpha val="0"/>
                  </a:srgbClr>
                </a:highlight>
                <a:latin typeface="Simsun"/>
                <a:ea typeface="Simsun"/>
              </a:rPr>
            </a:br>
            <a:r>
              <a:rPr lang="zh-Hans" sz="3000" b="1" i="0" u="none" strike="noStrike">
                <a:highlight>
                  <a:srgbClr val="000000">
                    <a:alpha val="0"/>
                  </a:srgbClr>
                </a:highlight>
                <a:latin typeface="Simsun"/>
                <a:ea typeface="Simsun"/>
              </a:rPr>
              <a:t>STAR与现有规划机制联系起来</a:t>
            </a:r>
          </a:p>
        </p:txBody>
      </p:sp>
      <p:cxnSp>
        <p:nvCxnSpPr>
          <p:cNvPr id="12" name="Straight Connector 11">
            <a:extLst>
              <a:ext uri="{FF2B5EF4-FFF2-40B4-BE49-F238E27FC236}">
                <a16:creationId xmlns:a16="http://schemas.microsoft.com/office/drawing/2014/main" id="{0F0D8735-2F04-46D8-9D4C-9C42240AA432}"/>
              </a:ext>
            </a:extLst>
          </p:cNvPr>
          <p:cNvCxnSpPr/>
          <p:nvPr>
            <p:custDataLst>
              <p:tags r:id="rId3"/>
            </p:custDataLst>
          </p:nvPr>
        </p:nvCxnSpPr>
        <p:spPr>
          <a:xfrm>
            <a:off x="309904" y="2174676"/>
            <a:ext cx="11215004" cy="0"/>
          </a:xfrm>
          <a:prstGeom prst="line">
            <a:avLst/>
          </a:prstGeom>
          <a:ln w="285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E4D8FE2-15EF-428F-97B8-6A583CEF4978}"/>
              </a:ext>
            </a:extLst>
          </p:cNvPr>
          <p:cNvSpPr txBox="1"/>
          <p:nvPr>
            <p:custDataLst>
              <p:tags r:id="rId4"/>
            </p:custDataLst>
          </p:nvPr>
        </p:nvSpPr>
        <p:spPr>
          <a:xfrm>
            <a:off x="689048" y="1119741"/>
            <a:ext cx="3644412" cy="338554"/>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5425">
              <a:lnSpc>
                <a:spcPct val="100000"/>
              </a:lnSpc>
              <a:spcBef>
                <a:spcPct val="0"/>
              </a:spcBef>
              <a:spcAft>
                <a:spcPts val="300"/>
              </a:spcAft>
              <a:buClr>
                <a:schemeClr val="tx1"/>
              </a:buClr>
              <a:buSzPct val="110000"/>
              <a:buFont typeface="Wingdings" panose="05000000000000000000" pitchFamily="2" charset="2"/>
              <a:buChar char=""/>
              <a:defRPr lang="en-US" sz="1600"/>
            </a:lvl2pPr>
            <a:lvl3pPr marL="442913" lvl="2" indent="-214313">
              <a:lnSpc>
                <a:spcPct val="100000"/>
              </a:lnSpc>
              <a:spcBef>
                <a:spcPct val="0"/>
              </a:spcBef>
              <a:spcAft>
                <a:spcPts val="300"/>
              </a:spcAft>
              <a:buClr>
                <a:schemeClr val="tx1"/>
              </a:buClr>
              <a:buSzPct val="110000"/>
              <a:buFont typeface="Arial" panose="020B0604020202020204" pitchFamily="34" charset="0"/>
              <a:buChar char="‒"/>
              <a:defRPr lang="en-US" sz="1600"/>
            </a:lvl3pPr>
            <a:lvl4pPr marL="598488" lvl="3" indent="-152400">
              <a:lnSpc>
                <a:spcPct val="100000"/>
              </a:lnSpc>
              <a:spcBef>
                <a:spcPct val="0"/>
              </a:spcBef>
              <a:spcAft>
                <a:spcPts val="300"/>
              </a:spcAft>
              <a:buClr>
                <a:schemeClr val="tx1"/>
              </a:buClr>
              <a:buSzTx/>
              <a:buFont typeface="Arial" panose="020B0604020202020204" pitchFamily="34" charset="0"/>
              <a:buChar char="•"/>
              <a:defRPr lang="en-US" sz="1600"/>
            </a:lvl4pPr>
            <a:lvl5pPr marL="817563" lvl="4" indent="-147638">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Tx/>
              <a:buFont typeface="Segoe UI" panose="020B0502040204020203" pitchFamily="34" charset="0"/>
              <a:buChar char="​"/>
              <a:defRPr/>
            </a:pPr>
            <a:r>
              <a:rPr kumimoji="0" lang="zh-Hans" sz="2200" b="1" i="0" u="none" strike="noStrike" kern="1200" cap="none" spc="0" normalizeH="0" baseline="0" noProof="0">
                <a:solidFill>
                  <a:srgbClr val="000066"/>
                </a:solidFill>
                <a:highlight>
                  <a:srgbClr val="000000">
                    <a:alpha val="0"/>
                  </a:srgbClr>
                </a:highlight>
                <a:uLnTx/>
                <a:uFillTx/>
                <a:latin typeface="Simsun"/>
                <a:ea typeface="Simsun"/>
                <a:cs typeface="Arial"/>
              </a:rPr>
              <a:t>STAR国家风险简介</a:t>
            </a:r>
            <a:endParaRPr kumimoji="0" lang="en-150" sz="2200" b="1" i="0" u="none" strike="noStrike" kern="1200" cap="none" spc="0" normalizeH="0" baseline="0" noProof="0">
              <a:ln>
                <a:noFill/>
              </a:ln>
              <a:solidFill>
                <a:srgbClr val="000066"/>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61DF08FF-DF51-41E8-AF59-D66CBAC63701}"/>
              </a:ext>
            </a:extLst>
          </p:cNvPr>
          <p:cNvSpPr txBox="1"/>
          <p:nvPr>
            <p:custDataLst>
              <p:tags r:id="rId5"/>
            </p:custDataLst>
          </p:nvPr>
        </p:nvSpPr>
        <p:spPr>
          <a:xfrm>
            <a:off x="5550171" y="1133930"/>
            <a:ext cx="6641829" cy="323165"/>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5425">
              <a:lnSpc>
                <a:spcPct val="100000"/>
              </a:lnSpc>
              <a:spcBef>
                <a:spcPct val="0"/>
              </a:spcBef>
              <a:spcAft>
                <a:spcPts val="300"/>
              </a:spcAft>
              <a:buClr>
                <a:schemeClr val="tx1"/>
              </a:buClr>
              <a:buSzPct val="110000"/>
              <a:buFont typeface="Wingdings" panose="05000000000000000000" pitchFamily="2" charset="2"/>
              <a:buChar char=""/>
              <a:defRPr lang="en-US" sz="1600"/>
            </a:lvl2pPr>
            <a:lvl3pPr marL="442913" lvl="2" indent="-214313">
              <a:lnSpc>
                <a:spcPct val="100000"/>
              </a:lnSpc>
              <a:spcBef>
                <a:spcPct val="0"/>
              </a:spcBef>
              <a:spcAft>
                <a:spcPts val="300"/>
              </a:spcAft>
              <a:buClr>
                <a:schemeClr val="tx1"/>
              </a:buClr>
              <a:buSzPct val="110000"/>
              <a:buFont typeface="Arial" panose="020B0604020202020204" pitchFamily="34" charset="0"/>
              <a:buChar char="‒"/>
              <a:defRPr lang="en-US" sz="1600"/>
            </a:lvl3pPr>
            <a:lvl4pPr marL="598488" lvl="3" indent="-152400">
              <a:lnSpc>
                <a:spcPct val="100000"/>
              </a:lnSpc>
              <a:spcBef>
                <a:spcPct val="0"/>
              </a:spcBef>
              <a:spcAft>
                <a:spcPts val="300"/>
              </a:spcAft>
              <a:buClr>
                <a:schemeClr val="tx1"/>
              </a:buClr>
              <a:buSzTx/>
              <a:buFont typeface="Arial" panose="020B0604020202020204" pitchFamily="34" charset="0"/>
              <a:buChar char="•"/>
              <a:defRPr lang="en-US" sz="1600"/>
            </a:lvl4pPr>
            <a:lvl5pPr marL="817563" lvl="4" indent="-147638">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Tx/>
              <a:buFont typeface="Segoe UI" panose="020B0502040204020203" pitchFamily="34" charset="0"/>
              <a:buNone/>
              <a:defRPr/>
            </a:pPr>
            <a:r>
              <a:rPr kumimoji="0" lang="zh-Hans" sz="2100" b="1" i="0" u="none" strike="noStrike" kern="1200" cap="none" spc="0" normalizeH="0" baseline="0" noProof="0">
                <a:solidFill>
                  <a:srgbClr val="DA115D"/>
                </a:solidFill>
                <a:highlight>
                  <a:srgbClr val="000000">
                    <a:alpha val="0"/>
                  </a:srgbClr>
                </a:highlight>
                <a:uLnTx/>
                <a:uFillTx/>
                <a:latin typeface="Simsun"/>
                <a:ea typeface="Simsun"/>
                <a:cs typeface="Arial"/>
              </a:rPr>
              <a:t>国家卫生安全行动计划(NAPHS)</a:t>
            </a:r>
            <a:endParaRPr kumimoji="0" lang="en-150" sz="2100" b="1" i="0" u="none" strike="noStrike" kern="1200" cap="none" spc="0" normalizeH="0" baseline="0" noProof="0">
              <a:ln>
                <a:noFill/>
              </a:ln>
              <a:solidFill>
                <a:srgbClr val="DA115D"/>
              </a:solidFill>
              <a:effectLst/>
              <a:uLnTx/>
              <a:uFillTx/>
              <a:latin typeface="Arial"/>
              <a:ea typeface="+mn-ea"/>
              <a:cs typeface="Arial" panose="020B0604020202020204" pitchFamily="34" charset="0"/>
            </a:endParaRPr>
          </a:p>
        </p:txBody>
      </p:sp>
      <p:pic>
        <p:nvPicPr>
          <p:cNvPr id="56" name="Picture 55">
            <a:extLst>
              <a:ext uri="{FF2B5EF4-FFF2-40B4-BE49-F238E27FC236}">
                <a16:creationId xmlns:a16="http://schemas.microsoft.com/office/drawing/2014/main" id="{B0FB2BBA-CADB-455D-8446-2EC6DDF664F8}"/>
              </a:ext>
            </a:extLst>
          </p:cNvPr>
          <p:cNvPicPr>
            <a:picLocks noChangeAspect="1"/>
          </p:cNvPicPr>
          <p:nvPr/>
        </p:nvPicPr>
        <p:blipFill>
          <a:blip r:embed="rId15"/>
          <a:stretch>
            <a:fillRect/>
          </a:stretch>
        </p:blipFill>
        <p:spPr>
          <a:xfrm>
            <a:off x="405294" y="4983078"/>
            <a:ext cx="1913001" cy="1111555"/>
          </a:xfrm>
          <a:prstGeom prst="rect">
            <a:avLst/>
          </a:prstGeom>
        </p:spPr>
      </p:pic>
      <p:pic>
        <p:nvPicPr>
          <p:cNvPr id="57" name="Picture 56">
            <a:extLst>
              <a:ext uri="{FF2B5EF4-FFF2-40B4-BE49-F238E27FC236}">
                <a16:creationId xmlns:a16="http://schemas.microsoft.com/office/drawing/2014/main" id="{3F0AAB6B-D819-4099-BA98-8D307BC3C2DF}"/>
              </a:ext>
            </a:extLst>
          </p:cNvPr>
          <p:cNvPicPr>
            <a:picLocks noChangeAspect="1"/>
          </p:cNvPicPr>
          <p:nvPr/>
        </p:nvPicPr>
        <p:blipFill>
          <a:blip r:embed="rId16"/>
          <a:stretch>
            <a:fillRect/>
          </a:stretch>
        </p:blipFill>
        <p:spPr>
          <a:xfrm>
            <a:off x="924248" y="2683003"/>
            <a:ext cx="2896989" cy="1885290"/>
          </a:xfrm>
          <a:prstGeom prst="rect">
            <a:avLst/>
          </a:prstGeom>
        </p:spPr>
      </p:pic>
      <p:pic>
        <p:nvPicPr>
          <p:cNvPr id="58" name="Picture 57">
            <a:extLst>
              <a:ext uri="{FF2B5EF4-FFF2-40B4-BE49-F238E27FC236}">
                <a16:creationId xmlns:a16="http://schemas.microsoft.com/office/drawing/2014/main" id="{715F8DFC-211C-4E1A-A765-F645D2317078}"/>
              </a:ext>
            </a:extLst>
          </p:cNvPr>
          <p:cNvPicPr>
            <a:picLocks noChangeAspect="1"/>
          </p:cNvPicPr>
          <p:nvPr/>
        </p:nvPicPr>
        <p:blipFill>
          <a:blip r:embed="rId17"/>
          <a:stretch>
            <a:fillRect/>
          </a:stretch>
        </p:blipFill>
        <p:spPr>
          <a:xfrm>
            <a:off x="3021150" y="5024006"/>
            <a:ext cx="1629481" cy="102970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60" name="TextBox 59">
            <a:extLst>
              <a:ext uri="{FF2B5EF4-FFF2-40B4-BE49-F238E27FC236}">
                <a16:creationId xmlns:a16="http://schemas.microsoft.com/office/drawing/2014/main" id="{DEFBE33F-AF19-40BC-ABAB-56851F1EC845}"/>
              </a:ext>
            </a:extLst>
          </p:cNvPr>
          <p:cNvSpPr txBox="1"/>
          <p:nvPr>
            <p:custDataLst>
              <p:tags r:id="rId6"/>
            </p:custDataLst>
          </p:nvPr>
        </p:nvSpPr>
        <p:spPr>
          <a:xfrm>
            <a:off x="171451" y="1495870"/>
            <a:ext cx="4847452" cy="553998"/>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5425">
              <a:lnSpc>
                <a:spcPct val="100000"/>
              </a:lnSpc>
              <a:spcBef>
                <a:spcPct val="0"/>
              </a:spcBef>
              <a:spcAft>
                <a:spcPts val="300"/>
              </a:spcAft>
              <a:buClr>
                <a:schemeClr val="tx1"/>
              </a:buClr>
              <a:buSzPct val="110000"/>
              <a:buFont typeface="Wingdings" panose="05000000000000000000" pitchFamily="2" charset="2"/>
              <a:buChar char=""/>
              <a:defRPr lang="en-US" sz="1600"/>
            </a:lvl2pPr>
            <a:lvl3pPr marL="442913" lvl="2" indent="-214313">
              <a:lnSpc>
                <a:spcPct val="100000"/>
              </a:lnSpc>
              <a:spcBef>
                <a:spcPct val="0"/>
              </a:spcBef>
              <a:spcAft>
                <a:spcPts val="300"/>
              </a:spcAft>
              <a:buClr>
                <a:schemeClr val="tx1"/>
              </a:buClr>
              <a:buSzPct val="110000"/>
              <a:buFont typeface="Arial" panose="020B0604020202020204" pitchFamily="34" charset="0"/>
              <a:buChar char="‒"/>
              <a:defRPr lang="en-US" sz="1600"/>
            </a:lvl3pPr>
            <a:lvl4pPr marL="598488" lvl="3" indent="-152400">
              <a:lnSpc>
                <a:spcPct val="100000"/>
              </a:lnSpc>
              <a:spcBef>
                <a:spcPct val="0"/>
              </a:spcBef>
              <a:spcAft>
                <a:spcPts val="300"/>
              </a:spcAft>
              <a:buClr>
                <a:schemeClr val="tx1"/>
              </a:buClr>
              <a:buSzTx/>
              <a:buFont typeface="Arial" panose="020B0604020202020204" pitchFamily="34" charset="0"/>
              <a:buChar char="•"/>
              <a:defRPr lang="en-US" sz="1600"/>
            </a:lvl4pPr>
            <a:lvl5pPr marL="817563" lvl="4" indent="-147638">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Tx/>
              <a:buFont typeface="Segoe UI" panose="020B0502040204020203" pitchFamily="34" charset="0"/>
              <a:buChar char="​"/>
              <a:defRPr/>
            </a:pPr>
            <a:r>
              <a:rPr kumimoji="0" lang="zh-Hans" sz="1200" b="1" i="0" u="none" strike="noStrike" kern="1200" cap="none" spc="0" normalizeH="0" baseline="0" noProof="0" dirty="0">
                <a:solidFill>
                  <a:srgbClr val="000066"/>
                </a:solidFill>
                <a:highlight>
                  <a:srgbClr val="000000">
                    <a:alpha val="0"/>
                  </a:srgbClr>
                </a:highlight>
                <a:uLnTx/>
                <a:uFillTx/>
                <a:latin typeface="Simsun"/>
                <a:ea typeface="Simsun"/>
                <a:cs typeface="Arial"/>
              </a:rPr>
              <a:t>多部门专家和领导齐聚一堂 </a:t>
            </a:r>
            <a:r>
              <a:rPr kumimoji="0" lang="zh-Hans" sz="1200" b="0" i="0" u="none" strike="noStrike" kern="1200" cap="none" spc="0" normalizeH="0" baseline="0" noProof="0" dirty="0">
                <a:solidFill>
                  <a:srgbClr val="000066"/>
                </a:solidFill>
                <a:highlight>
                  <a:srgbClr val="000000">
                    <a:alpha val="0"/>
                  </a:srgbClr>
                </a:highlight>
                <a:uLnTx/>
                <a:uFillTx/>
                <a:latin typeface="Simsun"/>
                <a:ea typeface="Simsun"/>
                <a:cs typeface="Arial"/>
              </a:rPr>
              <a:t>，审查国家风险，包括与特定</a:t>
            </a:r>
            <a:r>
              <a:rPr lang="zh-CN" altLang="en-US" sz="1200" dirty="0">
                <a:solidFill>
                  <a:srgbClr val="000066"/>
                </a:solidFill>
                <a:highlight>
                  <a:srgbClr val="000000">
                    <a:alpha val="0"/>
                  </a:srgbClr>
                </a:highlight>
                <a:latin typeface="Simsun"/>
                <a:ea typeface="Simsun"/>
                <a:cs typeface="Arial"/>
              </a:rPr>
              <a:t>风险</a:t>
            </a:r>
            <a:r>
              <a:rPr kumimoji="0" lang="zh-Hans" sz="1200" b="0" i="0" u="none" strike="noStrike" kern="1200" cap="none" spc="0" normalizeH="0" baseline="0" noProof="0" dirty="0">
                <a:solidFill>
                  <a:srgbClr val="000066"/>
                </a:solidFill>
                <a:highlight>
                  <a:srgbClr val="000000">
                    <a:alpha val="0"/>
                  </a:srgbClr>
                </a:highlight>
                <a:uLnTx/>
                <a:uFillTx/>
                <a:latin typeface="Simsun"/>
                <a:ea typeface="Simsun"/>
                <a:cs typeface="Arial"/>
              </a:rPr>
              <a:t>相关的应对能力和脆弱性，并通过参与式进程讨论优先行动。</a:t>
            </a:r>
          </a:p>
        </p:txBody>
      </p:sp>
      <p:cxnSp>
        <p:nvCxnSpPr>
          <p:cNvPr id="7" name="Straight Connector 6">
            <a:extLst>
              <a:ext uri="{FF2B5EF4-FFF2-40B4-BE49-F238E27FC236}">
                <a16:creationId xmlns:a16="http://schemas.microsoft.com/office/drawing/2014/main" id="{E51957C0-D31C-43FD-1FCF-A38EC2CFF9AD}"/>
              </a:ext>
            </a:extLst>
          </p:cNvPr>
          <p:cNvCxnSpPr/>
          <p:nvPr>
            <p:custDataLst>
              <p:tags r:id="rId7"/>
            </p:custDataLst>
          </p:nvPr>
        </p:nvCxnSpPr>
        <p:spPr>
          <a:xfrm flipH="1">
            <a:off x="5026518" y="1990318"/>
            <a:ext cx="0" cy="4349915"/>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ChevronBlue 28">
            <a:extLst>
              <a:ext uri="{FF2B5EF4-FFF2-40B4-BE49-F238E27FC236}">
                <a16:creationId xmlns:a16="http://schemas.microsoft.com/office/drawing/2014/main" id="{61011970-B02E-EF7D-87AC-AD82C2A91136}"/>
              </a:ext>
            </a:extLst>
          </p:cNvPr>
          <p:cNvGrpSpPr>
            <a:grpSpLocks noChangeAspect="1"/>
          </p:cNvGrpSpPr>
          <p:nvPr>
            <p:custDataLst>
              <p:tags r:id="rId8"/>
            </p:custDataLst>
          </p:nvPr>
        </p:nvGrpSpPr>
        <p:grpSpPr>
          <a:xfrm>
            <a:off x="4828404" y="3869389"/>
            <a:ext cx="396228" cy="396228"/>
            <a:chOff x="1016000" y="1016000"/>
            <a:chExt cx="396228" cy="396228"/>
          </a:xfrm>
        </p:grpSpPr>
        <p:sp>
          <p:nvSpPr>
            <p:cNvPr id="4" name="Oval 3">
              <a:extLst>
                <a:ext uri="{FF2B5EF4-FFF2-40B4-BE49-F238E27FC236}">
                  <a16:creationId xmlns:a16="http://schemas.microsoft.com/office/drawing/2014/main" id="{840D44E1-2D18-6B65-5357-AF165C27CF7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endParaRPr kumimoji="0" lang="en-GB" sz="1600" b="0" i="0" u="none" strike="noStrike" kern="1200" cap="none" spc="0" normalizeH="0" baseline="0" noProof="0">
                <a:ln>
                  <a:noFill/>
                </a:ln>
                <a:solidFill>
                  <a:srgbClr val="FFFFFF"/>
                </a:solidFill>
                <a:effectLst/>
                <a:uLnTx/>
                <a:uFillTx/>
                <a:latin typeface="Arial"/>
                <a:ea typeface="+mn-ea"/>
                <a:cs typeface="+mn-cs"/>
              </a:endParaRPr>
            </a:p>
          </p:txBody>
        </p:sp>
        <p:pic>
          <p:nvPicPr>
            <p:cNvPr id="5" name="Graphic 4">
              <a:extLst>
                <a:ext uri="{FF2B5EF4-FFF2-40B4-BE49-F238E27FC236}">
                  <a16:creationId xmlns:a16="http://schemas.microsoft.com/office/drawing/2014/main" id="{48164930-4C4F-BFB8-DA52-2A79BB578DB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23614" y="1023614"/>
              <a:ext cx="381000" cy="381000"/>
            </a:xfrm>
            <a:prstGeom prst="rect">
              <a:avLst/>
            </a:prstGeom>
          </p:spPr>
        </p:pic>
      </p:grpSp>
      <p:sp>
        <p:nvSpPr>
          <p:cNvPr id="9" name="TextBox 8">
            <a:extLst>
              <a:ext uri="{FF2B5EF4-FFF2-40B4-BE49-F238E27FC236}">
                <a16:creationId xmlns:a16="http://schemas.microsoft.com/office/drawing/2014/main" id="{6B528036-963E-CA56-80C1-6038E541CF0D}"/>
              </a:ext>
            </a:extLst>
          </p:cNvPr>
          <p:cNvSpPr txBox="1"/>
          <p:nvPr>
            <p:custDataLst>
              <p:tags r:id="rId9"/>
            </p:custDataLst>
          </p:nvPr>
        </p:nvSpPr>
        <p:spPr>
          <a:xfrm>
            <a:off x="5246164" y="2283143"/>
            <a:ext cx="6506812" cy="21544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5425">
              <a:lnSpc>
                <a:spcPct val="100000"/>
              </a:lnSpc>
              <a:spcBef>
                <a:spcPct val="0"/>
              </a:spcBef>
              <a:spcAft>
                <a:spcPts val="300"/>
              </a:spcAft>
              <a:buClr>
                <a:schemeClr val="tx1"/>
              </a:buClr>
              <a:buSzPct val="110000"/>
              <a:buFont typeface="Wingdings" panose="05000000000000000000" pitchFamily="2" charset="2"/>
              <a:buChar char=""/>
              <a:defRPr lang="en-US" sz="1600"/>
            </a:lvl2pPr>
            <a:lvl3pPr marL="442913" lvl="2" indent="-214313">
              <a:lnSpc>
                <a:spcPct val="100000"/>
              </a:lnSpc>
              <a:spcBef>
                <a:spcPct val="0"/>
              </a:spcBef>
              <a:spcAft>
                <a:spcPts val="300"/>
              </a:spcAft>
              <a:buClr>
                <a:schemeClr val="tx1"/>
              </a:buClr>
              <a:buSzPct val="110000"/>
              <a:buFont typeface="Arial" panose="020B0604020202020204" pitchFamily="34" charset="0"/>
              <a:buChar char="‒"/>
              <a:defRPr lang="en-US" sz="1600"/>
            </a:lvl3pPr>
            <a:lvl4pPr marL="598488" lvl="3" indent="-152400">
              <a:lnSpc>
                <a:spcPct val="100000"/>
              </a:lnSpc>
              <a:spcBef>
                <a:spcPct val="0"/>
              </a:spcBef>
              <a:spcAft>
                <a:spcPts val="300"/>
              </a:spcAft>
              <a:buClr>
                <a:schemeClr val="tx1"/>
              </a:buClr>
              <a:buSzTx/>
              <a:buFont typeface="Arial" panose="020B0604020202020204" pitchFamily="34" charset="0"/>
              <a:buChar char="•"/>
              <a:defRPr lang="en-US" sz="1600"/>
            </a:lvl4pPr>
            <a:lvl5pPr marL="817563" lvl="4" indent="-147638">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Tx/>
              <a:buFont typeface="Segoe UI" panose="020B0502040204020203" pitchFamily="34" charset="0"/>
              <a:buChar char="​"/>
              <a:defRPr/>
            </a:pP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Arial"/>
              </a:rPr>
              <a:t>STAR可以用来识别应对最高风险的行动并保障其优先实施：</a:t>
            </a:r>
            <a:endParaRPr kumimoji="0" lang="en-US" sz="1400" b="0" i="0" u="none" strike="noStrike" kern="1200" cap="none" spc="0" normalizeH="0" baseline="0" noProof="0" dirty="0">
              <a:ln>
                <a:noFill/>
              </a:ln>
              <a:solidFill>
                <a:srgbClr val="000066"/>
              </a:solidFill>
              <a:effectLst/>
              <a:uLnTx/>
              <a:uFillTx/>
              <a:latin typeface="Arial"/>
              <a:ea typeface="+mn-ea"/>
              <a:cs typeface="Arial" panose="020B0604020202020204" pitchFamily="34" charset="0"/>
            </a:endParaRPr>
          </a:p>
        </p:txBody>
      </p:sp>
      <p:grpSp>
        <p:nvGrpSpPr>
          <p:cNvPr id="10" name="ChevronBlue 28">
            <a:extLst>
              <a:ext uri="{FF2B5EF4-FFF2-40B4-BE49-F238E27FC236}">
                <a16:creationId xmlns:a16="http://schemas.microsoft.com/office/drawing/2014/main" id="{8D26932C-4FC4-F451-2405-EF25492378BF}"/>
              </a:ext>
            </a:extLst>
          </p:cNvPr>
          <p:cNvGrpSpPr>
            <a:grpSpLocks noChangeAspect="1"/>
          </p:cNvGrpSpPr>
          <p:nvPr>
            <p:custDataLst>
              <p:tags r:id="rId10"/>
            </p:custDataLst>
          </p:nvPr>
        </p:nvGrpSpPr>
        <p:grpSpPr>
          <a:xfrm>
            <a:off x="4820789" y="1134905"/>
            <a:ext cx="396228" cy="396228"/>
            <a:chOff x="1016000" y="1016000"/>
            <a:chExt cx="396228" cy="396228"/>
          </a:xfrm>
          <a:solidFill>
            <a:srgbClr val="DA115D"/>
          </a:solidFill>
        </p:grpSpPr>
        <p:sp>
          <p:nvSpPr>
            <p:cNvPr id="11" name="Oval 10">
              <a:extLst>
                <a:ext uri="{FF2B5EF4-FFF2-40B4-BE49-F238E27FC236}">
                  <a16:creationId xmlns:a16="http://schemas.microsoft.com/office/drawing/2014/main" id="{4057E2A9-BD72-4724-E0C7-610C6FF34CF7}"/>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endParaRPr kumimoji="0" lang="en-GB"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BF5BDA3F-2940-C44C-FE10-82242A13F25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23614" y="1023614"/>
              <a:ext cx="381000" cy="381000"/>
            </a:xfrm>
            <a:prstGeom prst="rect">
              <a:avLst/>
            </a:prstGeom>
          </p:spPr>
        </p:pic>
      </p:grpSp>
      <p:sp>
        <p:nvSpPr>
          <p:cNvPr id="15" name="TextBox 14">
            <a:extLst>
              <a:ext uri="{FF2B5EF4-FFF2-40B4-BE49-F238E27FC236}">
                <a16:creationId xmlns:a16="http://schemas.microsoft.com/office/drawing/2014/main" id="{49583EFF-3090-EFAB-8723-003AAA117BD2}"/>
              </a:ext>
            </a:extLst>
          </p:cNvPr>
          <p:cNvSpPr txBox="1"/>
          <p:nvPr/>
        </p:nvSpPr>
        <p:spPr>
          <a:xfrm>
            <a:off x="5353488" y="2613042"/>
            <a:ext cx="6373639" cy="3543485"/>
          </a:xfrm>
          <a:prstGeom prst="rect">
            <a:avLst/>
          </a:prstGeom>
          <a:ln w="6350">
            <a:noFill/>
            <a:miter lim="800000"/>
          </a:ln>
        </p:spPr>
        <p:txBody>
          <a:bodyPr vert="horz" wrap="square" lIns="0" tIns="0" rIns="0" bIns="0" rtlCol="0">
            <a:noAutofit/>
          </a:bodyPr>
          <a:lstStyle/>
          <a:p>
            <a:pPr marL="179388" marR="0" lvl="0" indent="-179388" algn="just" defTabSz="914400" rtl="0" eaLnBrk="1" fontAlgn="auto" latinLnBrk="0" hangingPunct="1">
              <a:lnSpc>
                <a:spcPct val="115000"/>
              </a:lnSpc>
              <a:spcBef>
                <a:spcPts val="200"/>
              </a:spcBef>
              <a:spcAft>
                <a:spcPct val="0"/>
              </a:spcAft>
              <a:buClrTx/>
              <a:buSzTx/>
              <a:buFontTx/>
              <a:buChar char="-"/>
              <a:defRPr/>
            </a:pP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审查相关的提高</a:t>
            </a:r>
            <a:r>
              <a:rPr kumimoji="0" lang="zh-CN" altLang="en-U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突发事件</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准备能力的工作清单</a:t>
            </a: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mn-cs"/>
              </a:rPr>
              <a:t>（应对全风险的清单和应对特定风险的清单</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并确保尚未反映在NAPHS中的关键优先事项被纳入</a:t>
            </a: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mn-cs"/>
              </a:rPr>
              <a:t>1-2年的运营计划</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a:t>
            </a:r>
          </a:p>
          <a:p>
            <a:pPr marL="179388" marR="0" lvl="0" indent="-179388" algn="just" defTabSz="914400" rtl="0" eaLnBrk="1" fontAlgn="auto" latinLnBrk="0" hangingPunct="1">
              <a:lnSpc>
                <a:spcPct val="115000"/>
              </a:lnSpc>
              <a:spcBef>
                <a:spcPts val="200"/>
              </a:spcBef>
              <a:spcAft>
                <a:spcPct val="0"/>
              </a:spcAft>
              <a:buClrTx/>
              <a:buSzTx/>
              <a:buFontTx/>
              <a:buChar char="-"/>
              <a:defRPr/>
            </a:pP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对实施的行动进行优先排序：</a:t>
            </a:r>
          </a:p>
          <a:p>
            <a:pPr marL="450850" marR="0" lvl="0" indent="-271463" algn="just" defTabSz="914400" rtl="0" eaLnBrk="1" fontAlgn="auto" latinLnBrk="0" hangingPunct="1">
              <a:lnSpc>
                <a:spcPct val="115000"/>
              </a:lnSpc>
              <a:spcBef>
                <a:spcPts val="200"/>
              </a:spcBef>
              <a:spcAft>
                <a:spcPct val="0"/>
              </a:spcAft>
              <a:buClrTx/>
              <a:buSzTx/>
              <a:buFont typeface="Arial" panose="020B0604020202020204" pitchFamily="34" charset="0"/>
              <a:buChar char="•"/>
              <a:defRPr/>
            </a:pP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采取行动，建立或加强</a:t>
            </a: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中期</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能力，以保持持续的准备和防范能力。</a:t>
            </a:r>
          </a:p>
          <a:p>
            <a:pPr marL="450850" marR="0" lvl="0" indent="-271463" algn="just" defTabSz="914400" rtl="0" eaLnBrk="1" fontAlgn="auto" latinLnBrk="0" hangingPunct="1">
              <a:lnSpc>
                <a:spcPct val="115000"/>
              </a:lnSpc>
              <a:spcBef>
                <a:spcPts val="200"/>
              </a:spcBef>
              <a:spcAft>
                <a:spcPct val="0"/>
              </a:spcAft>
              <a:buClrTx/>
              <a:buSzTx/>
              <a:buFont typeface="Arial" panose="020B0604020202020204" pitchFamily="34" charset="0"/>
              <a:buChar char="•"/>
              <a:defRPr/>
            </a:pP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能够减轻</a:t>
            </a: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mn-cs"/>
              </a:rPr>
              <a:t>最高风险</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严重风险）和关键系统性缺口（最低能力水平）的行动</a:t>
            </a:r>
          </a:p>
          <a:p>
            <a:pPr marL="450850" marR="0" lvl="0" indent="-271463" algn="just" defTabSz="914400" rtl="0" eaLnBrk="1" fontAlgn="auto" latinLnBrk="0" hangingPunct="1">
              <a:lnSpc>
                <a:spcPct val="115000"/>
              </a:lnSpc>
              <a:spcBef>
                <a:spcPts val="200"/>
              </a:spcBef>
              <a:spcAft>
                <a:spcPct val="0"/>
              </a:spcAft>
              <a:buClrTx/>
              <a:buSzTx/>
              <a:buFont typeface="Arial" panose="020B0604020202020204" pitchFamily="34" charset="0"/>
              <a:buChar char="•"/>
              <a:defRPr/>
            </a:pP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优先行动包括</a:t>
            </a: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短期</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和</a:t>
            </a: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长期的优先行动</a:t>
            </a:r>
          </a:p>
          <a:p>
            <a:pPr marL="450850" marR="0" lvl="0" indent="-271463" algn="just" defTabSz="914400" rtl="0" eaLnBrk="1" fontAlgn="auto" latinLnBrk="0" hangingPunct="1">
              <a:lnSpc>
                <a:spcPct val="115000"/>
              </a:lnSpc>
              <a:spcBef>
                <a:spcPts val="200"/>
              </a:spcBef>
              <a:spcAft>
                <a:spcPct val="0"/>
              </a:spcAft>
              <a:buClrTx/>
              <a:buSzTx/>
              <a:buFont typeface="Arial" panose="020B0604020202020204" pitchFamily="34" charset="0"/>
              <a:buChar char="•"/>
              <a:defRPr/>
            </a:pP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优先行动要具体、可操作</a:t>
            </a:r>
            <a:r>
              <a:rPr kumimoji="0" lang="zh-CN" altLang="en-U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并且</a:t>
            </a:r>
            <a:r>
              <a:rPr lang="zh-CN" altLang="en-US" sz="1400" dirty="0">
                <a:solidFill>
                  <a:srgbClr val="000066"/>
                </a:solidFill>
                <a:highlight>
                  <a:srgbClr val="000000">
                    <a:alpha val="0"/>
                  </a:srgbClr>
                </a:highlight>
                <a:latin typeface="Simsun"/>
                <a:ea typeface="Simsun"/>
              </a:rPr>
              <a:t>要能</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实施针对</a:t>
            </a:r>
            <a:r>
              <a:rPr kumimoji="0" lang="zh-Hans" sz="1400" b="1" i="0" u="none" strike="noStrike" kern="1200" cap="none" spc="0" normalizeH="0" baseline="0" noProof="0" dirty="0">
                <a:solidFill>
                  <a:srgbClr val="000066"/>
                </a:solidFill>
                <a:highlight>
                  <a:srgbClr val="000000">
                    <a:alpha val="0"/>
                  </a:srgbClr>
                </a:highlight>
                <a:uLnTx/>
                <a:uFillTx/>
                <a:latin typeface="Simsun"/>
                <a:ea typeface="Simsun"/>
                <a:cs typeface="+mn-cs"/>
              </a:rPr>
              <a:t>脆弱的地理区域和/或人口群体/社区</a:t>
            </a: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mn-cs"/>
              </a:rPr>
              <a:t>的行动</a:t>
            </a:r>
          </a:p>
          <a:p>
            <a:pPr marL="450850" marR="0" lvl="0" indent="-271463" algn="just" defTabSz="914400" rtl="0" eaLnBrk="1" fontAlgn="auto" latinLnBrk="0" hangingPunct="1">
              <a:lnSpc>
                <a:spcPct val="115000"/>
              </a:lnSpc>
              <a:spcBef>
                <a:spcPts val="200"/>
              </a:spcBef>
              <a:spcAft>
                <a:spcPct val="0"/>
              </a:spcAft>
              <a:buClrTx/>
              <a:buSzTx/>
              <a:buFont typeface="Arial" panose="020B0604020202020204" pitchFamily="34" charset="0"/>
              <a:buChar char="•"/>
              <a:defRPr/>
            </a:pPr>
            <a:r>
              <a:rPr kumimoji="0" lang="zh-Hans" sz="1400" b="0" i="0" u="none" strike="noStrike" kern="1200" cap="none" spc="0" normalizeH="0" baseline="0" noProof="0" dirty="0">
                <a:solidFill>
                  <a:srgbClr val="000066"/>
                </a:solidFill>
                <a:highlight>
                  <a:srgbClr val="000000">
                    <a:alpha val="0"/>
                  </a:srgbClr>
                </a:highlight>
                <a:uLnTx/>
                <a:uFillTx/>
                <a:latin typeface="Simsun"/>
                <a:ea typeface="Simsun"/>
                <a:cs typeface="Times New Roman"/>
              </a:rPr>
              <a:t>能够促进/维护公平性和包容性</a:t>
            </a:r>
          </a:p>
          <a:p>
            <a:pPr marL="0" marR="0" lvl="0" indent="0" algn="l" defTabSz="914400" rtl="0" eaLnBrk="1" fontAlgn="auto" latinLnBrk="0" hangingPunct="1">
              <a:lnSpc>
                <a:spcPct val="100000"/>
              </a:lnSpc>
              <a:spcBef>
                <a:spcPts val="300"/>
              </a:spcBef>
              <a:spcAft>
                <a:spcPts val="300"/>
              </a:spcAft>
              <a:buClrTx/>
              <a:buSzTx/>
              <a:buFontTx/>
              <a:buNone/>
              <a:defRPr/>
            </a:pPr>
            <a:endParaRPr kumimoji="0" lang="en-US" sz="1400" b="0" i="0" u="none" strike="noStrike" kern="1200" cap="none" spc="0" normalizeH="0" baseline="0" noProof="0" dirty="0">
              <a:ln>
                <a:noFill/>
              </a:ln>
              <a:solidFill>
                <a:srgbClr val="000066"/>
              </a:solidFill>
              <a:effectLst/>
              <a:uLnTx/>
              <a:uFillTx/>
              <a:latin typeface="Arial"/>
              <a:ea typeface="+mn-ea"/>
              <a:cs typeface="+mn-cs"/>
            </a:endParaRPr>
          </a:p>
        </p:txBody>
      </p:sp>
      <p:sp>
        <p:nvSpPr>
          <p:cNvPr id="18" name="TextBox 17">
            <a:extLst>
              <a:ext uri="{FF2B5EF4-FFF2-40B4-BE49-F238E27FC236}">
                <a16:creationId xmlns:a16="http://schemas.microsoft.com/office/drawing/2014/main" id="{9A64065F-9270-E40C-B817-FC6287B785E5}"/>
              </a:ext>
            </a:extLst>
          </p:cNvPr>
          <p:cNvSpPr txBox="1"/>
          <p:nvPr/>
        </p:nvSpPr>
        <p:spPr>
          <a:xfrm>
            <a:off x="5649118" y="1531133"/>
            <a:ext cx="6103858" cy="627202"/>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defRPr/>
            </a:pPr>
            <a:r>
              <a:rPr kumimoji="0" lang="zh-Hans" sz="1600" b="0" i="0" u="none" strike="noStrike" kern="1200" cap="none" spc="0" normalizeH="0" baseline="0" noProof="0" dirty="0">
                <a:solidFill>
                  <a:srgbClr val="000066"/>
                </a:solidFill>
                <a:highlight>
                  <a:srgbClr val="000000">
                    <a:alpha val="0"/>
                  </a:srgbClr>
                </a:highlight>
                <a:uLnTx/>
                <a:uFillTx/>
                <a:latin typeface="Simsun"/>
                <a:ea typeface="Simsun"/>
                <a:cs typeface="+mn-cs"/>
              </a:rPr>
              <a:t>NAPHS是战略能力发展的五年计划</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defRPr/>
            </a:pPr>
            <a:r>
              <a:rPr kumimoji="0" lang="zh-Hans" sz="1600" b="0" i="0" u="none" strike="noStrike" kern="1200" cap="none" spc="0" normalizeH="0" baseline="0" noProof="0" dirty="0">
                <a:solidFill>
                  <a:srgbClr val="000066"/>
                </a:solidFill>
                <a:highlight>
                  <a:srgbClr val="000000">
                    <a:alpha val="0"/>
                  </a:srgbClr>
                </a:highlight>
                <a:uLnTx/>
                <a:uFillTx/>
                <a:latin typeface="Simsun"/>
                <a:ea typeface="Simsun"/>
                <a:cs typeface="+mn-cs"/>
              </a:rPr>
              <a:t>和1-2年的运营计划互为补充。</a:t>
            </a:r>
          </a:p>
        </p:txBody>
      </p:sp>
    </p:spTree>
    <p:extLst>
      <p:ext uri="{BB962C8B-B14F-4D97-AF65-F5344CB8AC3E}">
        <p14:creationId xmlns:p14="http://schemas.microsoft.com/office/powerpoint/2010/main" val="174150771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nodeType="clickPar">
                      <p:stCondLst>
                        <p:cond delay="indefinite"/>
                      </p:stCondLst>
                      <p:childTnLst>
                        <p:par>
                          <p:cTn id="9" fill="hold" nodeType="after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A3714109-49BA-4764-B8E3-4E4C07048B62}"/>
              </a:ext>
            </a:extLst>
          </p:cNvPr>
          <p:cNvSpPr txBox="1"/>
          <p:nvPr/>
        </p:nvSpPr>
        <p:spPr>
          <a:xfrm>
            <a:off x="442915" y="226613"/>
            <a:ext cx="11749085" cy="67709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0" kern="1200" spc="0" baseline="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2800" b="0" i="0" u="none" strike="noStrike" kern="1200" cap="none" spc="0" normalizeH="0" baseline="0" noProof="0" dirty="0">
                <a:solidFill>
                  <a:srgbClr val="FFFFFF"/>
                </a:solidFill>
                <a:highlight>
                  <a:srgbClr val="000000">
                    <a:alpha val="0"/>
                  </a:srgbClr>
                </a:highlight>
                <a:uLnTx/>
                <a:uFillTx/>
                <a:latin typeface="Simsun"/>
                <a:ea typeface="Simsun"/>
                <a:cs typeface="+mj-cs"/>
              </a:rPr>
              <a:t>全球</a:t>
            </a:r>
            <a:r>
              <a:rPr kumimoji="0" lang="zh-CN" altLang="en-US" sz="2800" b="0" i="0" u="none" strike="noStrike" kern="1200" cap="none" spc="0" normalizeH="0" baseline="0" noProof="0" dirty="0">
                <a:solidFill>
                  <a:srgbClr val="FFFFFF"/>
                </a:solidFill>
                <a:highlight>
                  <a:srgbClr val="000000">
                    <a:alpha val="0"/>
                  </a:srgbClr>
                </a:highlight>
                <a:uLnTx/>
                <a:uFillTx/>
                <a:latin typeface="Simsun"/>
                <a:ea typeface="Simsun"/>
                <a:cs typeface="+mj-cs"/>
              </a:rPr>
              <a:t>性</a:t>
            </a:r>
            <a:r>
              <a:rPr kumimoji="0" lang="zh-Hans" sz="2800" b="0" i="0" u="none" strike="noStrike" kern="1200" cap="none" spc="0" normalizeH="0" baseline="0" noProof="0" dirty="0">
                <a:solidFill>
                  <a:srgbClr val="FFFFFF"/>
                </a:solidFill>
                <a:highlight>
                  <a:srgbClr val="000000">
                    <a:alpha val="0"/>
                  </a:srgbClr>
                </a:highlight>
                <a:uLnTx/>
                <a:uFillTx/>
                <a:latin typeface="Simsun"/>
                <a:ea typeface="Simsun"/>
                <a:cs typeface="+mj-cs"/>
              </a:rPr>
              <a:t>和区域</a:t>
            </a:r>
            <a:r>
              <a:rPr kumimoji="0" lang="zh-CN" altLang="en-US" sz="2800" b="0" i="0" u="none" strike="noStrike" kern="1200" cap="none" spc="0" normalizeH="0" baseline="0" noProof="0" dirty="0">
                <a:solidFill>
                  <a:srgbClr val="FFFFFF"/>
                </a:solidFill>
                <a:highlight>
                  <a:srgbClr val="000000">
                    <a:alpha val="0"/>
                  </a:srgbClr>
                </a:highlight>
                <a:uLnTx/>
                <a:uFillTx/>
                <a:latin typeface="Simsun"/>
                <a:ea typeface="Simsun"/>
                <a:cs typeface="+mj-cs"/>
              </a:rPr>
              <a:t>性</a:t>
            </a:r>
            <a:r>
              <a:rPr kumimoji="0" lang="zh-Hans" sz="2800" b="0" i="0" u="none" strike="noStrike" kern="1200" cap="none" spc="0" normalizeH="0" baseline="0" noProof="0" dirty="0">
                <a:solidFill>
                  <a:srgbClr val="FFFFFF"/>
                </a:solidFill>
                <a:highlight>
                  <a:srgbClr val="000000">
                    <a:alpha val="0"/>
                  </a:srgbClr>
                </a:highlight>
                <a:uLnTx/>
                <a:uFillTx/>
                <a:latin typeface="Simsun"/>
                <a:ea typeface="Simsun"/>
                <a:cs typeface="+mj-cs"/>
              </a:rPr>
              <a:t>NAPHS的挑战</a:t>
            </a:r>
          </a:p>
        </p:txBody>
      </p:sp>
      <p:sp>
        <p:nvSpPr>
          <p:cNvPr id="10" name="Rectangle 9">
            <a:extLst>
              <a:ext uri="{FF2B5EF4-FFF2-40B4-BE49-F238E27FC236}">
                <a16:creationId xmlns:a16="http://schemas.microsoft.com/office/drawing/2014/main" id="{EE1FB7FB-84EE-4ECE-99B8-1B8A0EEB3905}"/>
              </a:ext>
            </a:extLst>
          </p:cNvPr>
          <p:cNvSpPr/>
          <p:nvPr/>
        </p:nvSpPr>
        <p:spPr>
          <a:xfrm>
            <a:off x="0" y="1201205"/>
            <a:ext cx="12192000" cy="35988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2000" b="1" i="0" u="none" strike="noStrike" kern="1200" cap="none" spc="0" normalizeH="0" baseline="0" noProof="0" dirty="0">
                <a:solidFill>
                  <a:srgbClr val="FFFFFF"/>
                </a:solidFill>
                <a:highlight>
                  <a:srgbClr val="000000">
                    <a:alpha val="0"/>
                  </a:srgbClr>
                </a:highlight>
                <a:uLnTx/>
                <a:uFillTx/>
                <a:latin typeface="Simsun"/>
                <a:ea typeface="Simsun"/>
                <a:cs typeface="+mn-cs"/>
              </a:rPr>
              <a:t>尽管一些成员国已经形成了实施的势头，但国家</a:t>
            </a:r>
            <a:r>
              <a:rPr lang="zh-CN" altLang="en-US" sz="2000" b="1" dirty="0">
                <a:solidFill>
                  <a:srgbClr val="FFFFFF"/>
                </a:solidFill>
                <a:highlight>
                  <a:srgbClr val="000000">
                    <a:alpha val="0"/>
                  </a:srgbClr>
                </a:highlight>
                <a:latin typeface="Simsun"/>
                <a:ea typeface="Simsun"/>
              </a:rPr>
              <a:t>层面</a:t>
            </a:r>
            <a:r>
              <a:rPr kumimoji="0" lang="zh-Hans" sz="2000" b="1" i="0" u="none" strike="noStrike" kern="1200" cap="none" spc="0" normalizeH="0" baseline="0" noProof="0" dirty="0">
                <a:solidFill>
                  <a:srgbClr val="FFFFFF"/>
                </a:solidFill>
                <a:highlight>
                  <a:srgbClr val="000000">
                    <a:alpha val="0"/>
                  </a:srgbClr>
                </a:highlight>
                <a:uLnTx/>
                <a:uFillTx/>
                <a:latin typeface="Simsun"/>
                <a:ea typeface="Simsun"/>
                <a:cs typeface="+mn-cs"/>
              </a:rPr>
              <a:t>的实施人员却面临以下挑战。</a:t>
            </a:r>
          </a:p>
        </p:txBody>
      </p:sp>
      <p:sp>
        <p:nvSpPr>
          <p:cNvPr id="67" name="Google Shape;3889;p94">
            <a:extLst>
              <a:ext uri="{FF2B5EF4-FFF2-40B4-BE49-F238E27FC236}">
                <a16:creationId xmlns:a16="http://schemas.microsoft.com/office/drawing/2014/main" id="{59A4FCE9-EF93-4ED3-90BC-5E58FC8C015A}"/>
              </a:ext>
            </a:extLst>
          </p:cNvPr>
          <p:cNvSpPr/>
          <p:nvPr/>
        </p:nvSpPr>
        <p:spPr>
          <a:xfrm>
            <a:off x="1992316" y="2537361"/>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68" name="Google Shape;3890;p94">
            <a:extLst>
              <a:ext uri="{FF2B5EF4-FFF2-40B4-BE49-F238E27FC236}">
                <a16:creationId xmlns:a16="http://schemas.microsoft.com/office/drawing/2014/main" id="{401DFF8A-F9EC-4F8D-AD2C-5FABD420633E}"/>
              </a:ext>
            </a:extLst>
          </p:cNvPr>
          <p:cNvSpPr/>
          <p:nvPr/>
        </p:nvSpPr>
        <p:spPr>
          <a:xfrm>
            <a:off x="2148269" y="2607473"/>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69" name="Google Shape;3891;p94">
            <a:extLst>
              <a:ext uri="{FF2B5EF4-FFF2-40B4-BE49-F238E27FC236}">
                <a16:creationId xmlns:a16="http://schemas.microsoft.com/office/drawing/2014/main" id="{77E61219-E51A-4180-9FEA-6E1DEA96C0AE}"/>
              </a:ext>
            </a:extLst>
          </p:cNvPr>
          <p:cNvSpPr txBox="1"/>
          <p:nvPr/>
        </p:nvSpPr>
        <p:spPr>
          <a:xfrm>
            <a:off x="2000603" y="2730437"/>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sym typeface="Arial"/>
              </a:rPr>
              <a:t>2</a:t>
            </a:r>
            <a:endParaRPr kumimoji="0" sz="1600" b="0" i="0" u="none" strike="noStrike" kern="1200" cap="none" spc="0" normalizeH="0" baseline="0" noProof="0">
              <a:ln>
                <a:noFill/>
              </a:ln>
              <a:solidFill>
                <a:srgbClr val="000000"/>
              </a:solidFill>
              <a:effectLst/>
              <a:uLnTx/>
              <a:uFillTx/>
              <a:latin typeface="Calibri"/>
              <a:ea typeface="+mn-ea"/>
              <a:cs typeface="+mn-cs"/>
            </a:endParaRPr>
          </a:p>
        </p:txBody>
      </p:sp>
      <p:grpSp>
        <p:nvGrpSpPr>
          <p:cNvPr id="70" name="Google Shape;3892;p94">
            <a:extLst>
              <a:ext uri="{FF2B5EF4-FFF2-40B4-BE49-F238E27FC236}">
                <a16:creationId xmlns:a16="http://schemas.microsoft.com/office/drawing/2014/main" id="{5FBA008C-C3E0-496C-BA0F-A69411342C19}"/>
              </a:ext>
            </a:extLst>
          </p:cNvPr>
          <p:cNvGrpSpPr/>
          <p:nvPr/>
        </p:nvGrpSpPr>
        <p:grpSpPr>
          <a:xfrm>
            <a:off x="10214532" y="2593296"/>
            <a:ext cx="466404" cy="466334"/>
            <a:chOff x="590920" y="2274258"/>
            <a:chExt cx="720107" cy="720000"/>
          </a:xfrm>
          <a:solidFill>
            <a:schemeClr val="accent4">
              <a:lumMod val="50000"/>
            </a:schemeClr>
          </a:solidFill>
        </p:grpSpPr>
        <p:sp>
          <p:nvSpPr>
            <p:cNvPr id="108" name="Google Shape;3893;p94">
              <a:extLst>
                <a:ext uri="{FF2B5EF4-FFF2-40B4-BE49-F238E27FC236}">
                  <a16:creationId xmlns:a16="http://schemas.microsoft.com/office/drawing/2014/main" id="{C752CFE5-ED96-4412-B891-4E088545854B}"/>
                </a:ext>
              </a:extLst>
            </p:cNvPr>
            <p:cNvSpPr/>
            <p:nvPr/>
          </p:nvSpPr>
          <p:spPr>
            <a:xfrm>
              <a:off x="590920" y="2274258"/>
              <a:ext cx="720107" cy="720000"/>
            </a:xfrm>
            <a:custGeom>
              <a:avLst/>
              <a:gdLst/>
              <a:ahLst/>
              <a:cxnLst/>
              <a:rect l="l" t="t" r="r" b="b"/>
              <a:pathLst>
                <a:path w="6628" h="6627" extrusionOk="0">
                  <a:moveTo>
                    <a:pt x="6628" y="5435"/>
                  </a:moveTo>
                  <a:lnTo>
                    <a:pt x="6628" y="0"/>
                  </a:lnTo>
                  <a:lnTo>
                    <a:pt x="0" y="0"/>
                  </a:lnTo>
                  <a:lnTo>
                    <a:pt x="0" y="5435"/>
                  </a:lnTo>
                  <a:lnTo>
                    <a:pt x="2061" y="5435"/>
                  </a:lnTo>
                  <a:lnTo>
                    <a:pt x="2061" y="6343"/>
                  </a:lnTo>
                  <a:lnTo>
                    <a:pt x="1118" y="6343"/>
                  </a:lnTo>
                  <a:lnTo>
                    <a:pt x="1118" y="6627"/>
                  </a:lnTo>
                  <a:lnTo>
                    <a:pt x="5508" y="6627"/>
                  </a:lnTo>
                  <a:lnTo>
                    <a:pt x="5508" y="6343"/>
                  </a:lnTo>
                  <a:lnTo>
                    <a:pt x="4565" y="6343"/>
                  </a:lnTo>
                  <a:lnTo>
                    <a:pt x="4565" y="5435"/>
                  </a:lnTo>
                  <a:lnTo>
                    <a:pt x="6628" y="5435"/>
                  </a:lnTo>
                  <a:close/>
                  <a:moveTo>
                    <a:pt x="282" y="282"/>
                  </a:moveTo>
                  <a:lnTo>
                    <a:pt x="6344" y="282"/>
                  </a:lnTo>
                  <a:lnTo>
                    <a:pt x="6344" y="5153"/>
                  </a:lnTo>
                  <a:lnTo>
                    <a:pt x="282" y="5153"/>
                  </a:lnTo>
                  <a:lnTo>
                    <a:pt x="282" y="282"/>
                  </a:lnTo>
                  <a:close/>
                  <a:moveTo>
                    <a:pt x="4283" y="6343"/>
                  </a:moveTo>
                  <a:lnTo>
                    <a:pt x="2343" y="6343"/>
                  </a:lnTo>
                  <a:lnTo>
                    <a:pt x="2343" y="5435"/>
                  </a:lnTo>
                  <a:lnTo>
                    <a:pt x="4283" y="5435"/>
                  </a:lnTo>
                  <a:lnTo>
                    <a:pt x="4283" y="6343"/>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9" name="Google Shape;3894;p94">
              <a:extLst>
                <a:ext uri="{FF2B5EF4-FFF2-40B4-BE49-F238E27FC236}">
                  <a16:creationId xmlns:a16="http://schemas.microsoft.com/office/drawing/2014/main" id="{397A533B-7D8A-417B-87E1-85099795AA49}"/>
                </a:ext>
              </a:extLst>
            </p:cNvPr>
            <p:cNvSpPr/>
            <p:nvPr/>
          </p:nvSpPr>
          <p:spPr>
            <a:xfrm>
              <a:off x="699566" y="2428536"/>
              <a:ext cx="191326" cy="315183"/>
            </a:xfrm>
            <a:custGeom>
              <a:avLst/>
              <a:gdLst/>
              <a:ahLst/>
              <a:cxnLst/>
              <a:rect l="l" t="t" r="r" b="b"/>
              <a:pathLst>
                <a:path w="1761" h="2901" extrusionOk="0">
                  <a:moveTo>
                    <a:pt x="1579" y="698"/>
                  </a:moveTo>
                  <a:lnTo>
                    <a:pt x="1579" y="698"/>
                  </a:lnTo>
                  <a:lnTo>
                    <a:pt x="1579" y="662"/>
                  </a:lnTo>
                  <a:lnTo>
                    <a:pt x="1575" y="626"/>
                  </a:lnTo>
                  <a:lnTo>
                    <a:pt x="1571" y="592"/>
                  </a:lnTo>
                  <a:lnTo>
                    <a:pt x="1565" y="558"/>
                  </a:lnTo>
                  <a:lnTo>
                    <a:pt x="1557" y="524"/>
                  </a:lnTo>
                  <a:lnTo>
                    <a:pt x="1549" y="490"/>
                  </a:lnTo>
                  <a:lnTo>
                    <a:pt x="1537" y="458"/>
                  </a:lnTo>
                  <a:lnTo>
                    <a:pt x="1525" y="426"/>
                  </a:lnTo>
                  <a:lnTo>
                    <a:pt x="1511" y="396"/>
                  </a:lnTo>
                  <a:lnTo>
                    <a:pt x="1495" y="366"/>
                  </a:lnTo>
                  <a:lnTo>
                    <a:pt x="1479" y="336"/>
                  </a:lnTo>
                  <a:lnTo>
                    <a:pt x="1461" y="308"/>
                  </a:lnTo>
                  <a:lnTo>
                    <a:pt x="1441" y="280"/>
                  </a:lnTo>
                  <a:lnTo>
                    <a:pt x="1419" y="254"/>
                  </a:lnTo>
                  <a:lnTo>
                    <a:pt x="1397" y="228"/>
                  </a:lnTo>
                  <a:lnTo>
                    <a:pt x="1375" y="204"/>
                  </a:lnTo>
                  <a:lnTo>
                    <a:pt x="1351" y="182"/>
                  </a:lnTo>
                  <a:lnTo>
                    <a:pt x="1325" y="160"/>
                  </a:lnTo>
                  <a:lnTo>
                    <a:pt x="1299" y="138"/>
                  </a:lnTo>
                  <a:lnTo>
                    <a:pt x="1271" y="118"/>
                  </a:lnTo>
                  <a:lnTo>
                    <a:pt x="1243" y="100"/>
                  </a:lnTo>
                  <a:lnTo>
                    <a:pt x="1213" y="84"/>
                  </a:lnTo>
                  <a:lnTo>
                    <a:pt x="1183" y="68"/>
                  </a:lnTo>
                  <a:lnTo>
                    <a:pt x="1153" y="54"/>
                  </a:lnTo>
                  <a:lnTo>
                    <a:pt x="1121" y="42"/>
                  </a:lnTo>
                  <a:lnTo>
                    <a:pt x="1089" y="30"/>
                  </a:lnTo>
                  <a:lnTo>
                    <a:pt x="1055" y="22"/>
                  </a:lnTo>
                  <a:lnTo>
                    <a:pt x="1021" y="14"/>
                  </a:lnTo>
                  <a:lnTo>
                    <a:pt x="987" y="8"/>
                  </a:lnTo>
                  <a:lnTo>
                    <a:pt x="953" y="4"/>
                  </a:lnTo>
                  <a:lnTo>
                    <a:pt x="917" y="0"/>
                  </a:lnTo>
                  <a:lnTo>
                    <a:pt x="881" y="0"/>
                  </a:lnTo>
                  <a:lnTo>
                    <a:pt x="881" y="0"/>
                  </a:lnTo>
                  <a:lnTo>
                    <a:pt x="845" y="0"/>
                  </a:lnTo>
                  <a:lnTo>
                    <a:pt x="809" y="4"/>
                  </a:lnTo>
                  <a:lnTo>
                    <a:pt x="775" y="8"/>
                  </a:lnTo>
                  <a:lnTo>
                    <a:pt x="741" y="14"/>
                  </a:lnTo>
                  <a:lnTo>
                    <a:pt x="707" y="22"/>
                  </a:lnTo>
                  <a:lnTo>
                    <a:pt x="673" y="30"/>
                  </a:lnTo>
                  <a:lnTo>
                    <a:pt x="640" y="42"/>
                  </a:lnTo>
                  <a:lnTo>
                    <a:pt x="608" y="54"/>
                  </a:lnTo>
                  <a:lnTo>
                    <a:pt x="578" y="68"/>
                  </a:lnTo>
                  <a:lnTo>
                    <a:pt x="548" y="84"/>
                  </a:lnTo>
                  <a:lnTo>
                    <a:pt x="518" y="100"/>
                  </a:lnTo>
                  <a:lnTo>
                    <a:pt x="490" y="118"/>
                  </a:lnTo>
                  <a:lnTo>
                    <a:pt x="462" y="138"/>
                  </a:lnTo>
                  <a:lnTo>
                    <a:pt x="436" y="160"/>
                  </a:lnTo>
                  <a:lnTo>
                    <a:pt x="410" y="182"/>
                  </a:lnTo>
                  <a:lnTo>
                    <a:pt x="386" y="204"/>
                  </a:lnTo>
                  <a:lnTo>
                    <a:pt x="364" y="228"/>
                  </a:lnTo>
                  <a:lnTo>
                    <a:pt x="342" y="254"/>
                  </a:lnTo>
                  <a:lnTo>
                    <a:pt x="320" y="280"/>
                  </a:lnTo>
                  <a:lnTo>
                    <a:pt x="302" y="308"/>
                  </a:lnTo>
                  <a:lnTo>
                    <a:pt x="282" y="336"/>
                  </a:lnTo>
                  <a:lnTo>
                    <a:pt x="266" y="366"/>
                  </a:lnTo>
                  <a:lnTo>
                    <a:pt x="250" y="396"/>
                  </a:lnTo>
                  <a:lnTo>
                    <a:pt x="236" y="426"/>
                  </a:lnTo>
                  <a:lnTo>
                    <a:pt x="224" y="458"/>
                  </a:lnTo>
                  <a:lnTo>
                    <a:pt x="214" y="490"/>
                  </a:lnTo>
                  <a:lnTo>
                    <a:pt x="204" y="524"/>
                  </a:lnTo>
                  <a:lnTo>
                    <a:pt x="196" y="558"/>
                  </a:lnTo>
                  <a:lnTo>
                    <a:pt x="190" y="592"/>
                  </a:lnTo>
                  <a:lnTo>
                    <a:pt x="186" y="626"/>
                  </a:lnTo>
                  <a:lnTo>
                    <a:pt x="182" y="662"/>
                  </a:lnTo>
                  <a:lnTo>
                    <a:pt x="182" y="698"/>
                  </a:lnTo>
                  <a:lnTo>
                    <a:pt x="182" y="948"/>
                  </a:lnTo>
                  <a:lnTo>
                    <a:pt x="0" y="948"/>
                  </a:lnTo>
                  <a:lnTo>
                    <a:pt x="0" y="2901"/>
                  </a:lnTo>
                  <a:lnTo>
                    <a:pt x="1761" y="2901"/>
                  </a:lnTo>
                  <a:lnTo>
                    <a:pt x="1761" y="948"/>
                  </a:lnTo>
                  <a:lnTo>
                    <a:pt x="1585" y="948"/>
                  </a:lnTo>
                  <a:lnTo>
                    <a:pt x="1579" y="698"/>
                  </a:lnTo>
                  <a:close/>
                  <a:moveTo>
                    <a:pt x="464" y="698"/>
                  </a:moveTo>
                  <a:lnTo>
                    <a:pt x="464" y="698"/>
                  </a:lnTo>
                  <a:lnTo>
                    <a:pt x="466" y="656"/>
                  </a:lnTo>
                  <a:lnTo>
                    <a:pt x="472" y="614"/>
                  </a:lnTo>
                  <a:lnTo>
                    <a:pt x="482" y="574"/>
                  </a:lnTo>
                  <a:lnTo>
                    <a:pt x="496" y="536"/>
                  </a:lnTo>
                  <a:lnTo>
                    <a:pt x="514" y="500"/>
                  </a:lnTo>
                  <a:lnTo>
                    <a:pt x="536" y="466"/>
                  </a:lnTo>
                  <a:lnTo>
                    <a:pt x="560" y="434"/>
                  </a:lnTo>
                  <a:lnTo>
                    <a:pt x="586" y="404"/>
                  </a:lnTo>
                  <a:lnTo>
                    <a:pt x="616" y="378"/>
                  </a:lnTo>
                  <a:lnTo>
                    <a:pt x="648" y="354"/>
                  </a:lnTo>
                  <a:lnTo>
                    <a:pt x="683" y="332"/>
                  </a:lnTo>
                  <a:lnTo>
                    <a:pt x="719" y="314"/>
                  </a:lnTo>
                  <a:lnTo>
                    <a:pt x="757" y="300"/>
                  </a:lnTo>
                  <a:lnTo>
                    <a:pt x="797" y="290"/>
                  </a:lnTo>
                  <a:lnTo>
                    <a:pt x="839" y="284"/>
                  </a:lnTo>
                  <a:lnTo>
                    <a:pt x="881" y="282"/>
                  </a:lnTo>
                  <a:lnTo>
                    <a:pt x="881" y="282"/>
                  </a:lnTo>
                  <a:lnTo>
                    <a:pt x="923" y="284"/>
                  </a:lnTo>
                  <a:lnTo>
                    <a:pt x="965" y="290"/>
                  </a:lnTo>
                  <a:lnTo>
                    <a:pt x="1005" y="300"/>
                  </a:lnTo>
                  <a:lnTo>
                    <a:pt x="1043" y="314"/>
                  </a:lnTo>
                  <a:lnTo>
                    <a:pt x="1079" y="332"/>
                  </a:lnTo>
                  <a:lnTo>
                    <a:pt x="1113" y="354"/>
                  </a:lnTo>
                  <a:lnTo>
                    <a:pt x="1145" y="378"/>
                  </a:lnTo>
                  <a:lnTo>
                    <a:pt x="1175" y="404"/>
                  </a:lnTo>
                  <a:lnTo>
                    <a:pt x="1201" y="434"/>
                  </a:lnTo>
                  <a:lnTo>
                    <a:pt x="1225" y="466"/>
                  </a:lnTo>
                  <a:lnTo>
                    <a:pt x="1247" y="502"/>
                  </a:lnTo>
                  <a:lnTo>
                    <a:pt x="1265" y="538"/>
                  </a:lnTo>
                  <a:lnTo>
                    <a:pt x="1279" y="576"/>
                  </a:lnTo>
                  <a:lnTo>
                    <a:pt x="1289" y="616"/>
                  </a:lnTo>
                  <a:lnTo>
                    <a:pt x="1295" y="658"/>
                  </a:lnTo>
                  <a:lnTo>
                    <a:pt x="1297" y="702"/>
                  </a:lnTo>
                  <a:lnTo>
                    <a:pt x="1303" y="948"/>
                  </a:lnTo>
                  <a:lnTo>
                    <a:pt x="464" y="948"/>
                  </a:lnTo>
                  <a:lnTo>
                    <a:pt x="464" y="698"/>
                  </a:lnTo>
                  <a:close/>
                  <a:moveTo>
                    <a:pt x="1479" y="2619"/>
                  </a:moveTo>
                  <a:lnTo>
                    <a:pt x="282" y="2619"/>
                  </a:lnTo>
                  <a:lnTo>
                    <a:pt x="282" y="1230"/>
                  </a:lnTo>
                  <a:lnTo>
                    <a:pt x="1479" y="1230"/>
                  </a:lnTo>
                  <a:lnTo>
                    <a:pt x="1479" y="2619"/>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0" name="Google Shape;3895;p94">
              <a:extLst>
                <a:ext uri="{FF2B5EF4-FFF2-40B4-BE49-F238E27FC236}">
                  <a16:creationId xmlns:a16="http://schemas.microsoft.com/office/drawing/2014/main" id="{D854E4E3-F6E0-4A0F-9E38-783EFD127E90}"/>
                </a:ext>
              </a:extLst>
            </p:cNvPr>
            <p:cNvSpPr/>
            <p:nvPr/>
          </p:nvSpPr>
          <p:spPr>
            <a:xfrm>
              <a:off x="750413" y="2577816"/>
              <a:ext cx="89633" cy="120054"/>
            </a:xfrm>
            <a:custGeom>
              <a:avLst/>
              <a:gdLst/>
              <a:ahLst/>
              <a:cxnLst/>
              <a:rect l="l" t="t" r="r" b="b"/>
              <a:pathLst>
                <a:path w="825" h="1105" extrusionOk="0">
                  <a:moveTo>
                    <a:pt x="271" y="797"/>
                  </a:moveTo>
                  <a:lnTo>
                    <a:pt x="271" y="1105"/>
                  </a:lnTo>
                  <a:lnTo>
                    <a:pt x="555" y="1105"/>
                  </a:lnTo>
                  <a:lnTo>
                    <a:pt x="555" y="797"/>
                  </a:lnTo>
                  <a:lnTo>
                    <a:pt x="555" y="797"/>
                  </a:lnTo>
                  <a:lnTo>
                    <a:pt x="583" y="785"/>
                  </a:lnTo>
                  <a:lnTo>
                    <a:pt x="611" y="771"/>
                  </a:lnTo>
                  <a:lnTo>
                    <a:pt x="637" y="755"/>
                  </a:lnTo>
                  <a:lnTo>
                    <a:pt x="663" y="739"/>
                  </a:lnTo>
                  <a:lnTo>
                    <a:pt x="687" y="719"/>
                  </a:lnTo>
                  <a:lnTo>
                    <a:pt x="709" y="697"/>
                  </a:lnTo>
                  <a:lnTo>
                    <a:pt x="729" y="675"/>
                  </a:lnTo>
                  <a:lnTo>
                    <a:pt x="749" y="649"/>
                  </a:lnTo>
                  <a:lnTo>
                    <a:pt x="765" y="625"/>
                  </a:lnTo>
                  <a:lnTo>
                    <a:pt x="781" y="597"/>
                  </a:lnTo>
                  <a:lnTo>
                    <a:pt x="793" y="569"/>
                  </a:lnTo>
                  <a:lnTo>
                    <a:pt x="805" y="539"/>
                  </a:lnTo>
                  <a:lnTo>
                    <a:pt x="813" y="508"/>
                  </a:lnTo>
                  <a:lnTo>
                    <a:pt x="819" y="476"/>
                  </a:lnTo>
                  <a:lnTo>
                    <a:pt x="823" y="444"/>
                  </a:lnTo>
                  <a:lnTo>
                    <a:pt x="825" y="412"/>
                  </a:lnTo>
                  <a:lnTo>
                    <a:pt x="825" y="412"/>
                  </a:lnTo>
                  <a:lnTo>
                    <a:pt x="823" y="370"/>
                  </a:lnTo>
                  <a:lnTo>
                    <a:pt x="817" y="328"/>
                  </a:lnTo>
                  <a:lnTo>
                    <a:pt x="807" y="290"/>
                  </a:lnTo>
                  <a:lnTo>
                    <a:pt x="793" y="252"/>
                  </a:lnTo>
                  <a:lnTo>
                    <a:pt x="775" y="216"/>
                  </a:lnTo>
                  <a:lnTo>
                    <a:pt x="755" y="182"/>
                  </a:lnTo>
                  <a:lnTo>
                    <a:pt x="731" y="150"/>
                  </a:lnTo>
                  <a:lnTo>
                    <a:pt x="705" y="120"/>
                  </a:lnTo>
                  <a:lnTo>
                    <a:pt x="675" y="94"/>
                  </a:lnTo>
                  <a:lnTo>
                    <a:pt x="643" y="70"/>
                  </a:lnTo>
                  <a:lnTo>
                    <a:pt x="609" y="50"/>
                  </a:lnTo>
                  <a:lnTo>
                    <a:pt x="573" y="32"/>
                  </a:lnTo>
                  <a:lnTo>
                    <a:pt x="535" y="18"/>
                  </a:lnTo>
                  <a:lnTo>
                    <a:pt x="495" y="8"/>
                  </a:lnTo>
                  <a:lnTo>
                    <a:pt x="455" y="2"/>
                  </a:lnTo>
                  <a:lnTo>
                    <a:pt x="413" y="0"/>
                  </a:lnTo>
                  <a:lnTo>
                    <a:pt x="413" y="0"/>
                  </a:lnTo>
                  <a:lnTo>
                    <a:pt x="371" y="2"/>
                  </a:lnTo>
                  <a:lnTo>
                    <a:pt x="331" y="8"/>
                  </a:lnTo>
                  <a:lnTo>
                    <a:pt x="291" y="18"/>
                  </a:lnTo>
                  <a:lnTo>
                    <a:pt x="253" y="32"/>
                  </a:lnTo>
                  <a:lnTo>
                    <a:pt x="217" y="50"/>
                  </a:lnTo>
                  <a:lnTo>
                    <a:pt x="182" y="70"/>
                  </a:lnTo>
                  <a:lnTo>
                    <a:pt x="150" y="94"/>
                  </a:lnTo>
                  <a:lnTo>
                    <a:pt x="122" y="120"/>
                  </a:lnTo>
                  <a:lnTo>
                    <a:pt x="94" y="150"/>
                  </a:lnTo>
                  <a:lnTo>
                    <a:pt x="70" y="182"/>
                  </a:lnTo>
                  <a:lnTo>
                    <a:pt x="50" y="216"/>
                  </a:lnTo>
                  <a:lnTo>
                    <a:pt x="32" y="252"/>
                  </a:lnTo>
                  <a:lnTo>
                    <a:pt x="18" y="290"/>
                  </a:lnTo>
                  <a:lnTo>
                    <a:pt x="8" y="328"/>
                  </a:lnTo>
                  <a:lnTo>
                    <a:pt x="2" y="370"/>
                  </a:lnTo>
                  <a:lnTo>
                    <a:pt x="0" y="412"/>
                  </a:lnTo>
                  <a:lnTo>
                    <a:pt x="0" y="412"/>
                  </a:lnTo>
                  <a:lnTo>
                    <a:pt x="2" y="444"/>
                  </a:lnTo>
                  <a:lnTo>
                    <a:pt x="6" y="476"/>
                  </a:lnTo>
                  <a:lnTo>
                    <a:pt x="12" y="508"/>
                  </a:lnTo>
                  <a:lnTo>
                    <a:pt x="20" y="539"/>
                  </a:lnTo>
                  <a:lnTo>
                    <a:pt x="32" y="569"/>
                  </a:lnTo>
                  <a:lnTo>
                    <a:pt x="44" y="597"/>
                  </a:lnTo>
                  <a:lnTo>
                    <a:pt x="60" y="625"/>
                  </a:lnTo>
                  <a:lnTo>
                    <a:pt x="76" y="649"/>
                  </a:lnTo>
                  <a:lnTo>
                    <a:pt x="96" y="675"/>
                  </a:lnTo>
                  <a:lnTo>
                    <a:pt x="116" y="697"/>
                  </a:lnTo>
                  <a:lnTo>
                    <a:pt x="138" y="719"/>
                  </a:lnTo>
                  <a:lnTo>
                    <a:pt x="162" y="739"/>
                  </a:lnTo>
                  <a:lnTo>
                    <a:pt x="188" y="755"/>
                  </a:lnTo>
                  <a:lnTo>
                    <a:pt x="215" y="771"/>
                  </a:lnTo>
                  <a:lnTo>
                    <a:pt x="243" y="785"/>
                  </a:lnTo>
                  <a:lnTo>
                    <a:pt x="271" y="797"/>
                  </a:lnTo>
                  <a:lnTo>
                    <a:pt x="271" y="797"/>
                  </a:lnTo>
                  <a:close/>
                  <a:moveTo>
                    <a:pt x="413" y="282"/>
                  </a:moveTo>
                  <a:lnTo>
                    <a:pt x="413" y="282"/>
                  </a:lnTo>
                  <a:lnTo>
                    <a:pt x="427" y="284"/>
                  </a:lnTo>
                  <a:lnTo>
                    <a:pt x="439" y="286"/>
                  </a:lnTo>
                  <a:lnTo>
                    <a:pt x="451" y="288"/>
                  </a:lnTo>
                  <a:lnTo>
                    <a:pt x="463" y="292"/>
                  </a:lnTo>
                  <a:lnTo>
                    <a:pt x="475" y="298"/>
                  </a:lnTo>
                  <a:lnTo>
                    <a:pt x="485" y="304"/>
                  </a:lnTo>
                  <a:lnTo>
                    <a:pt x="505" y="320"/>
                  </a:lnTo>
                  <a:lnTo>
                    <a:pt x="521" y="340"/>
                  </a:lnTo>
                  <a:lnTo>
                    <a:pt x="527" y="350"/>
                  </a:lnTo>
                  <a:lnTo>
                    <a:pt x="533" y="362"/>
                  </a:lnTo>
                  <a:lnTo>
                    <a:pt x="537" y="374"/>
                  </a:lnTo>
                  <a:lnTo>
                    <a:pt x="539" y="386"/>
                  </a:lnTo>
                  <a:lnTo>
                    <a:pt x="541" y="398"/>
                  </a:lnTo>
                  <a:lnTo>
                    <a:pt x="543" y="412"/>
                  </a:lnTo>
                  <a:lnTo>
                    <a:pt x="543" y="412"/>
                  </a:lnTo>
                  <a:lnTo>
                    <a:pt x="541" y="424"/>
                  </a:lnTo>
                  <a:lnTo>
                    <a:pt x="539" y="438"/>
                  </a:lnTo>
                  <a:lnTo>
                    <a:pt x="537" y="450"/>
                  </a:lnTo>
                  <a:lnTo>
                    <a:pt x="533" y="462"/>
                  </a:lnTo>
                  <a:lnTo>
                    <a:pt x="527" y="474"/>
                  </a:lnTo>
                  <a:lnTo>
                    <a:pt x="521" y="484"/>
                  </a:lnTo>
                  <a:lnTo>
                    <a:pt x="505" y="502"/>
                  </a:lnTo>
                  <a:lnTo>
                    <a:pt x="485" y="518"/>
                  </a:lnTo>
                  <a:lnTo>
                    <a:pt x="475" y="527"/>
                  </a:lnTo>
                  <a:lnTo>
                    <a:pt x="463" y="531"/>
                  </a:lnTo>
                  <a:lnTo>
                    <a:pt x="451" y="535"/>
                  </a:lnTo>
                  <a:lnTo>
                    <a:pt x="439" y="539"/>
                  </a:lnTo>
                  <a:lnTo>
                    <a:pt x="427" y="541"/>
                  </a:lnTo>
                  <a:lnTo>
                    <a:pt x="413" y="541"/>
                  </a:lnTo>
                  <a:lnTo>
                    <a:pt x="413" y="541"/>
                  </a:lnTo>
                  <a:lnTo>
                    <a:pt x="399" y="541"/>
                  </a:lnTo>
                  <a:lnTo>
                    <a:pt x="387" y="539"/>
                  </a:lnTo>
                  <a:lnTo>
                    <a:pt x="375" y="535"/>
                  </a:lnTo>
                  <a:lnTo>
                    <a:pt x="363" y="531"/>
                  </a:lnTo>
                  <a:lnTo>
                    <a:pt x="351" y="527"/>
                  </a:lnTo>
                  <a:lnTo>
                    <a:pt x="341" y="518"/>
                  </a:lnTo>
                  <a:lnTo>
                    <a:pt x="321" y="502"/>
                  </a:lnTo>
                  <a:lnTo>
                    <a:pt x="307" y="484"/>
                  </a:lnTo>
                  <a:lnTo>
                    <a:pt x="299" y="474"/>
                  </a:lnTo>
                  <a:lnTo>
                    <a:pt x="295" y="462"/>
                  </a:lnTo>
                  <a:lnTo>
                    <a:pt x="289" y="450"/>
                  </a:lnTo>
                  <a:lnTo>
                    <a:pt x="287" y="438"/>
                  </a:lnTo>
                  <a:lnTo>
                    <a:pt x="285" y="424"/>
                  </a:lnTo>
                  <a:lnTo>
                    <a:pt x="283" y="412"/>
                  </a:lnTo>
                  <a:lnTo>
                    <a:pt x="283" y="412"/>
                  </a:lnTo>
                  <a:lnTo>
                    <a:pt x="285" y="398"/>
                  </a:lnTo>
                  <a:lnTo>
                    <a:pt x="287" y="386"/>
                  </a:lnTo>
                  <a:lnTo>
                    <a:pt x="289" y="374"/>
                  </a:lnTo>
                  <a:lnTo>
                    <a:pt x="295" y="362"/>
                  </a:lnTo>
                  <a:lnTo>
                    <a:pt x="299" y="350"/>
                  </a:lnTo>
                  <a:lnTo>
                    <a:pt x="307" y="340"/>
                  </a:lnTo>
                  <a:lnTo>
                    <a:pt x="321" y="320"/>
                  </a:lnTo>
                  <a:lnTo>
                    <a:pt x="341" y="304"/>
                  </a:lnTo>
                  <a:lnTo>
                    <a:pt x="351" y="298"/>
                  </a:lnTo>
                  <a:lnTo>
                    <a:pt x="363" y="292"/>
                  </a:lnTo>
                  <a:lnTo>
                    <a:pt x="375" y="288"/>
                  </a:lnTo>
                  <a:lnTo>
                    <a:pt x="387" y="286"/>
                  </a:lnTo>
                  <a:lnTo>
                    <a:pt x="399" y="284"/>
                  </a:lnTo>
                  <a:lnTo>
                    <a:pt x="413" y="282"/>
                  </a:lnTo>
                  <a:lnTo>
                    <a:pt x="413" y="28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1" name="Google Shape;3896;p94">
              <a:extLst>
                <a:ext uri="{FF2B5EF4-FFF2-40B4-BE49-F238E27FC236}">
                  <a16:creationId xmlns:a16="http://schemas.microsoft.com/office/drawing/2014/main" id="{0FE7C72A-FF02-4D41-B98C-768EEC457CE3}"/>
                </a:ext>
              </a:extLst>
            </p:cNvPr>
            <p:cNvSpPr/>
            <p:nvPr/>
          </p:nvSpPr>
          <p:spPr>
            <a:xfrm>
              <a:off x="928049" y="2466780"/>
              <a:ext cx="226962" cy="186763"/>
            </a:xfrm>
            <a:custGeom>
              <a:avLst/>
              <a:gdLst/>
              <a:ahLst/>
              <a:cxnLst/>
              <a:rect l="l" t="t" r="r" b="b"/>
              <a:pathLst>
                <a:path w="2089" h="1719" extrusionOk="0">
                  <a:moveTo>
                    <a:pt x="1818" y="796"/>
                  </a:moveTo>
                  <a:lnTo>
                    <a:pt x="1818" y="796"/>
                  </a:lnTo>
                  <a:lnTo>
                    <a:pt x="1846" y="784"/>
                  </a:lnTo>
                  <a:lnTo>
                    <a:pt x="1875" y="770"/>
                  </a:lnTo>
                  <a:lnTo>
                    <a:pt x="1903" y="754"/>
                  </a:lnTo>
                  <a:lnTo>
                    <a:pt x="1927" y="738"/>
                  </a:lnTo>
                  <a:lnTo>
                    <a:pt x="1951" y="718"/>
                  </a:lnTo>
                  <a:lnTo>
                    <a:pt x="1973" y="696"/>
                  </a:lnTo>
                  <a:lnTo>
                    <a:pt x="1995" y="674"/>
                  </a:lnTo>
                  <a:lnTo>
                    <a:pt x="2013" y="648"/>
                  </a:lnTo>
                  <a:lnTo>
                    <a:pt x="2031" y="624"/>
                  </a:lnTo>
                  <a:lnTo>
                    <a:pt x="2045" y="596"/>
                  </a:lnTo>
                  <a:lnTo>
                    <a:pt x="2059" y="568"/>
                  </a:lnTo>
                  <a:lnTo>
                    <a:pt x="2069" y="538"/>
                  </a:lnTo>
                  <a:lnTo>
                    <a:pt x="2077" y="508"/>
                  </a:lnTo>
                  <a:lnTo>
                    <a:pt x="2085" y="476"/>
                  </a:lnTo>
                  <a:lnTo>
                    <a:pt x="2087" y="444"/>
                  </a:lnTo>
                  <a:lnTo>
                    <a:pt x="2089" y="412"/>
                  </a:lnTo>
                  <a:lnTo>
                    <a:pt x="2089" y="412"/>
                  </a:lnTo>
                  <a:lnTo>
                    <a:pt x="2087" y="370"/>
                  </a:lnTo>
                  <a:lnTo>
                    <a:pt x="2081" y="328"/>
                  </a:lnTo>
                  <a:lnTo>
                    <a:pt x="2071" y="290"/>
                  </a:lnTo>
                  <a:lnTo>
                    <a:pt x="2057" y="252"/>
                  </a:lnTo>
                  <a:lnTo>
                    <a:pt x="2039" y="216"/>
                  </a:lnTo>
                  <a:lnTo>
                    <a:pt x="2019" y="182"/>
                  </a:lnTo>
                  <a:lnTo>
                    <a:pt x="1995" y="150"/>
                  </a:lnTo>
                  <a:lnTo>
                    <a:pt x="1969" y="120"/>
                  </a:lnTo>
                  <a:lnTo>
                    <a:pt x="1939" y="94"/>
                  </a:lnTo>
                  <a:lnTo>
                    <a:pt x="1907" y="70"/>
                  </a:lnTo>
                  <a:lnTo>
                    <a:pt x="1873" y="50"/>
                  </a:lnTo>
                  <a:lnTo>
                    <a:pt x="1836" y="32"/>
                  </a:lnTo>
                  <a:lnTo>
                    <a:pt x="1798" y="18"/>
                  </a:lnTo>
                  <a:lnTo>
                    <a:pt x="1760" y="8"/>
                  </a:lnTo>
                  <a:lnTo>
                    <a:pt x="1718" y="2"/>
                  </a:lnTo>
                  <a:lnTo>
                    <a:pt x="1676" y="0"/>
                  </a:lnTo>
                  <a:lnTo>
                    <a:pt x="1676" y="0"/>
                  </a:lnTo>
                  <a:lnTo>
                    <a:pt x="1634" y="2"/>
                  </a:lnTo>
                  <a:lnTo>
                    <a:pt x="1594" y="8"/>
                  </a:lnTo>
                  <a:lnTo>
                    <a:pt x="1554" y="18"/>
                  </a:lnTo>
                  <a:lnTo>
                    <a:pt x="1516" y="32"/>
                  </a:lnTo>
                  <a:lnTo>
                    <a:pt x="1480" y="50"/>
                  </a:lnTo>
                  <a:lnTo>
                    <a:pt x="1446" y="70"/>
                  </a:lnTo>
                  <a:lnTo>
                    <a:pt x="1414" y="94"/>
                  </a:lnTo>
                  <a:lnTo>
                    <a:pt x="1386" y="120"/>
                  </a:lnTo>
                  <a:lnTo>
                    <a:pt x="1358" y="150"/>
                  </a:lnTo>
                  <a:lnTo>
                    <a:pt x="1336" y="182"/>
                  </a:lnTo>
                  <a:lnTo>
                    <a:pt x="1314" y="216"/>
                  </a:lnTo>
                  <a:lnTo>
                    <a:pt x="1298" y="252"/>
                  </a:lnTo>
                  <a:lnTo>
                    <a:pt x="1284" y="290"/>
                  </a:lnTo>
                  <a:lnTo>
                    <a:pt x="1274" y="328"/>
                  </a:lnTo>
                  <a:lnTo>
                    <a:pt x="1266" y="370"/>
                  </a:lnTo>
                  <a:lnTo>
                    <a:pt x="1264" y="412"/>
                  </a:lnTo>
                  <a:lnTo>
                    <a:pt x="1264" y="412"/>
                  </a:lnTo>
                  <a:lnTo>
                    <a:pt x="1266" y="444"/>
                  </a:lnTo>
                  <a:lnTo>
                    <a:pt x="1270" y="476"/>
                  </a:lnTo>
                  <a:lnTo>
                    <a:pt x="1276" y="508"/>
                  </a:lnTo>
                  <a:lnTo>
                    <a:pt x="1284" y="538"/>
                  </a:lnTo>
                  <a:lnTo>
                    <a:pt x="1296" y="568"/>
                  </a:lnTo>
                  <a:lnTo>
                    <a:pt x="1308" y="596"/>
                  </a:lnTo>
                  <a:lnTo>
                    <a:pt x="1324" y="624"/>
                  </a:lnTo>
                  <a:lnTo>
                    <a:pt x="1342" y="648"/>
                  </a:lnTo>
                  <a:lnTo>
                    <a:pt x="1360" y="674"/>
                  </a:lnTo>
                  <a:lnTo>
                    <a:pt x="1380" y="696"/>
                  </a:lnTo>
                  <a:lnTo>
                    <a:pt x="1402" y="718"/>
                  </a:lnTo>
                  <a:lnTo>
                    <a:pt x="1426" y="738"/>
                  </a:lnTo>
                  <a:lnTo>
                    <a:pt x="1452" y="754"/>
                  </a:lnTo>
                  <a:lnTo>
                    <a:pt x="1478" y="770"/>
                  </a:lnTo>
                  <a:lnTo>
                    <a:pt x="1506" y="784"/>
                  </a:lnTo>
                  <a:lnTo>
                    <a:pt x="1536" y="796"/>
                  </a:lnTo>
                  <a:lnTo>
                    <a:pt x="1536" y="1436"/>
                  </a:lnTo>
                  <a:lnTo>
                    <a:pt x="0" y="1436"/>
                  </a:lnTo>
                  <a:lnTo>
                    <a:pt x="0" y="1719"/>
                  </a:lnTo>
                  <a:lnTo>
                    <a:pt x="1818" y="1719"/>
                  </a:lnTo>
                  <a:lnTo>
                    <a:pt x="1818" y="796"/>
                  </a:lnTo>
                  <a:close/>
                  <a:moveTo>
                    <a:pt x="1676" y="282"/>
                  </a:moveTo>
                  <a:lnTo>
                    <a:pt x="1676" y="282"/>
                  </a:lnTo>
                  <a:lnTo>
                    <a:pt x="1690" y="284"/>
                  </a:lnTo>
                  <a:lnTo>
                    <a:pt x="1702" y="286"/>
                  </a:lnTo>
                  <a:lnTo>
                    <a:pt x="1714" y="288"/>
                  </a:lnTo>
                  <a:lnTo>
                    <a:pt x="1726" y="292"/>
                  </a:lnTo>
                  <a:lnTo>
                    <a:pt x="1738" y="298"/>
                  </a:lnTo>
                  <a:lnTo>
                    <a:pt x="1748" y="304"/>
                  </a:lnTo>
                  <a:lnTo>
                    <a:pt x="1768" y="320"/>
                  </a:lnTo>
                  <a:lnTo>
                    <a:pt x="1784" y="340"/>
                  </a:lnTo>
                  <a:lnTo>
                    <a:pt x="1790" y="350"/>
                  </a:lnTo>
                  <a:lnTo>
                    <a:pt x="1796" y="362"/>
                  </a:lnTo>
                  <a:lnTo>
                    <a:pt x="1800" y="374"/>
                  </a:lnTo>
                  <a:lnTo>
                    <a:pt x="1804" y="386"/>
                  </a:lnTo>
                  <a:lnTo>
                    <a:pt x="1806" y="398"/>
                  </a:lnTo>
                  <a:lnTo>
                    <a:pt x="1806" y="412"/>
                  </a:lnTo>
                  <a:lnTo>
                    <a:pt x="1806" y="412"/>
                  </a:lnTo>
                  <a:lnTo>
                    <a:pt x="1806" y="424"/>
                  </a:lnTo>
                  <a:lnTo>
                    <a:pt x="1804" y="438"/>
                  </a:lnTo>
                  <a:lnTo>
                    <a:pt x="1800" y="450"/>
                  </a:lnTo>
                  <a:lnTo>
                    <a:pt x="1796" y="462"/>
                  </a:lnTo>
                  <a:lnTo>
                    <a:pt x="1790" y="474"/>
                  </a:lnTo>
                  <a:lnTo>
                    <a:pt x="1784" y="484"/>
                  </a:lnTo>
                  <a:lnTo>
                    <a:pt x="1768" y="502"/>
                  </a:lnTo>
                  <a:lnTo>
                    <a:pt x="1748" y="518"/>
                  </a:lnTo>
                  <a:lnTo>
                    <a:pt x="1738" y="526"/>
                  </a:lnTo>
                  <a:lnTo>
                    <a:pt x="1726" y="530"/>
                  </a:lnTo>
                  <a:lnTo>
                    <a:pt x="1714" y="534"/>
                  </a:lnTo>
                  <a:lnTo>
                    <a:pt x="1702" y="538"/>
                  </a:lnTo>
                  <a:lnTo>
                    <a:pt x="1690" y="540"/>
                  </a:lnTo>
                  <a:lnTo>
                    <a:pt x="1676" y="540"/>
                  </a:lnTo>
                  <a:lnTo>
                    <a:pt x="1676" y="540"/>
                  </a:lnTo>
                  <a:lnTo>
                    <a:pt x="1664" y="540"/>
                  </a:lnTo>
                  <a:lnTo>
                    <a:pt x="1650" y="538"/>
                  </a:lnTo>
                  <a:lnTo>
                    <a:pt x="1638" y="534"/>
                  </a:lnTo>
                  <a:lnTo>
                    <a:pt x="1626" y="530"/>
                  </a:lnTo>
                  <a:lnTo>
                    <a:pt x="1616" y="526"/>
                  </a:lnTo>
                  <a:lnTo>
                    <a:pt x="1604" y="518"/>
                  </a:lnTo>
                  <a:lnTo>
                    <a:pt x="1586" y="502"/>
                  </a:lnTo>
                  <a:lnTo>
                    <a:pt x="1570" y="484"/>
                  </a:lnTo>
                  <a:lnTo>
                    <a:pt x="1564" y="474"/>
                  </a:lnTo>
                  <a:lnTo>
                    <a:pt x="1558" y="462"/>
                  </a:lnTo>
                  <a:lnTo>
                    <a:pt x="1554" y="450"/>
                  </a:lnTo>
                  <a:lnTo>
                    <a:pt x="1550" y="438"/>
                  </a:lnTo>
                  <a:lnTo>
                    <a:pt x="1548" y="424"/>
                  </a:lnTo>
                  <a:lnTo>
                    <a:pt x="1548" y="412"/>
                  </a:lnTo>
                  <a:lnTo>
                    <a:pt x="1548" y="412"/>
                  </a:lnTo>
                  <a:lnTo>
                    <a:pt x="1548" y="398"/>
                  </a:lnTo>
                  <a:lnTo>
                    <a:pt x="1550" y="386"/>
                  </a:lnTo>
                  <a:lnTo>
                    <a:pt x="1554" y="374"/>
                  </a:lnTo>
                  <a:lnTo>
                    <a:pt x="1558" y="362"/>
                  </a:lnTo>
                  <a:lnTo>
                    <a:pt x="1564" y="350"/>
                  </a:lnTo>
                  <a:lnTo>
                    <a:pt x="1570" y="340"/>
                  </a:lnTo>
                  <a:lnTo>
                    <a:pt x="1586" y="320"/>
                  </a:lnTo>
                  <a:lnTo>
                    <a:pt x="1604" y="304"/>
                  </a:lnTo>
                  <a:lnTo>
                    <a:pt x="1616" y="298"/>
                  </a:lnTo>
                  <a:lnTo>
                    <a:pt x="1626" y="292"/>
                  </a:lnTo>
                  <a:lnTo>
                    <a:pt x="1638" y="288"/>
                  </a:lnTo>
                  <a:lnTo>
                    <a:pt x="1650" y="286"/>
                  </a:lnTo>
                  <a:lnTo>
                    <a:pt x="1664" y="284"/>
                  </a:lnTo>
                  <a:lnTo>
                    <a:pt x="1676" y="282"/>
                  </a:lnTo>
                  <a:lnTo>
                    <a:pt x="1676" y="28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2" name="Google Shape;3897;p94">
              <a:extLst>
                <a:ext uri="{FF2B5EF4-FFF2-40B4-BE49-F238E27FC236}">
                  <a16:creationId xmlns:a16="http://schemas.microsoft.com/office/drawing/2014/main" id="{297395E5-EAD9-4DC8-97CC-3A75CB6894DF}"/>
                </a:ext>
              </a:extLst>
            </p:cNvPr>
            <p:cNvSpPr/>
            <p:nvPr/>
          </p:nvSpPr>
          <p:spPr>
            <a:xfrm>
              <a:off x="928049" y="2570863"/>
              <a:ext cx="311054" cy="164382"/>
            </a:xfrm>
            <a:custGeom>
              <a:avLst/>
              <a:gdLst/>
              <a:ahLst/>
              <a:cxnLst/>
              <a:rect l="l" t="t" r="r" b="b"/>
              <a:pathLst>
                <a:path w="2863" h="1513" extrusionOk="0">
                  <a:moveTo>
                    <a:pt x="2451" y="0"/>
                  </a:moveTo>
                  <a:lnTo>
                    <a:pt x="2451" y="0"/>
                  </a:lnTo>
                  <a:lnTo>
                    <a:pt x="2409" y="2"/>
                  </a:lnTo>
                  <a:lnTo>
                    <a:pt x="2369" y="8"/>
                  </a:lnTo>
                  <a:lnTo>
                    <a:pt x="2329" y="18"/>
                  </a:lnTo>
                  <a:lnTo>
                    <a:pt x="2291" y="32"/>
                  </a:lnTo>
                  <a:lnTo>
                    <a:pt x="2255" y="50"/>
                  </a:lnTo>
                  <a:lnTo>
                    <a:pt x="2221" y="70"/>
                  </a:lnTo>
                  <a:lnTo>
                    <a:pt x="2191" y="94"/>
                  </a:lnTo>
                  <a:lnTo>
                    <a:pt x="2161" y="120"/>
                  </a:lnTo>
                  <a:lnTo>
                    <a:pt x="2135" y="150"/>
                  </a:lnTo>
                  <a:lnTo>
                    <a:pt x="2111" y="182"/>
                  </a:lnTo>
                  <a:lnTo>
                    <a:pt x="2091" y="216"/>
                  </a:lnTo>
                  <a:lnTo>
                    <a:pt x="2073" y="252"/>
                  </a:lnTo>
                  <a:lnTo>
                    <a:pt x="2059" y="290"/>
                  </a:lnTo>
                  <a:lnTo>
                    <a:pt x="2049" y="328"/>
                  </a:lnTo>
                  <a:lnTo>
                    <a:pt x="2043" y="370"/>
                  </a:lnTo>
                  <a:lnTo>
                    <a:pt x="2041" y="412"/>
                  </a:lnTo>
                  <a:lnTo>
                    <a:pt x="2041" y="412"/>
                  </a:lnTo>
                  <a:lnTo>
                    <a:pt x="2041" y="442"/>
                  </a:lnTo>
                  <a:lnTo>
                    <a:pt x="2045" y="474"/>
                  </a:lnTo>
                  <a:lnTo>
                    <a:pt x="2051" y="504"/>
                  </a:lnTo>
                  <a:lnTo>
                    <a:pt x="2059" y="532"/>
                  </a:lnTo>
                  <a:lnTo>
                    <a:pt x="2069" y="560"/>
                  </a:lnTo>
                  <a:lnTo>
                    <a:pt x="2081" y="589"/>
                  </a:lnTo>
                  <a:lnTo>
                    <a:pt x="2093" y="615"/>
                  </a:lnTo>
                  <a:lnTo>
                    <a:pt x="2109" y="641"/>
                  </a:lnTo>
                  <a:lnTo>
                    <a:pt x="2127" y="663"/>
                  </a:lnTo>
                  <a:lnTo>
                    <a:pt x="2145" y="687"/>
                  </a:lnTo>
                  <a:lnTo>
                    <a:pt x="2165" y="707"/>
                  </a:lnTo>
                  <a:lnTo>
                    <a:pt x="2187" y="727"/>
                  </a:lnTo>
                  <a:lnTo>
                    <a:pt x="2211" y="745"/>
                  </a:lnTo>
                  <a:lnTo>
                    <a:pt x="2235" y="761"/>
                  </a:lnTo>
                  <a:lnTo>
                    <a:pt x="2261" y="777"/>
                  </a:lnTo>
                  <a:lnTo>
                    <a:pt x="2287" y="789"/>
                  </a:lnTo>
                  <a:lnTo>
                    <a:pt x="2287" y="1229"/>
                  </a:lnTo>
                  <a:lnTo>
                    <a:pt x="0" y="1229"/>
                  </a:lnTo>
                  <a:lnTo>
                    <a:pt x="0" y="1513"/>
                  </a:lnTo>
                  <a:lnTo>
                    <a:pt x="2569" y="1513"/>
                  </a:lnTo>
                  <a:lnTo>
                    <a:pt x="2569" y="805"/>
                  </a:lnTo>
                  <a:lnTo>
                    <a:pt x="2569" y="805"/>
                  </a:lnTo>
                  <a:lnTo>
                    <a:pt x="2601" y="795"/>
                  </a:lnTo>
                  <a:lnTo>
                    <a:pt x="2631" y="781"/>
                  </a:lnTo>
                  <a:lnTo>
                    <a:pt x="2659" y="767"/>
                  </a:lnTo>
                  <a:lnTo>
                    <a:pt x="2687" y="749"/>
                  </a:lnTo>
                  <a:lnTo>
                    <a:pt x="2713" y="729"/>
                  </a:lnTo>
                  <a:lnTo>
                    <a:pt x="2737" y="707"/>
                  </a:lnTo>
                  <a:lnTo>
                    <a:pt x="2759" y="685"/>
                  </a:lnTo>
                  <a:lnTo>
                    <a:pt x="2781" y="659"/>
                  </a:lnTo>
                  <a:lnTo>
                    <a:pt x="2799" y="633"/>
                  </a:lnTo>
                  <a:lnTo>
                    <a:pt x="2815" y="605"/>
                  </a:lnTo>
                  <a:lnTo>
                    <a:pt x="2829" y="574"/>
                  </a:lnTo>
                  <a:lnTo>
                    <a:pt x="2841" y="544"/>
                  </a:lnTo>
                  <a:lnTo>
                    <a:pt x="2851" y="512"/>
                  </a:lnTo>
                  <a:lnTo>
                    <a:pt x="2859" y="480"/>
                  </a:lnTo>
                  <a:lnTo>
                    <a:pt x="2863" y="446"/>
                  </a:lnTo>
                  <a:lnTo>
                    <a:pt x="2863" y="412"/>
                  </a:lnTo>
                  <a:lnTo>
                    <a:pt x="2863" y="412"/>
                  </a:lnTo>
                  <a:lnTo>
                    <a:pt x="2861" y="370"/>
                  </a:lnTo>
                  <a:lnTo>
                    <a:pt x="2855" y="328"/>
                  </a:lnTo>
                  <a:lnTo>
                    <a:pt x="2845" y="290"/>
                  </a:lnTo>
                  <a:lnTo>
                    <a:pt x="2831" y="252"/>
                  </a:lnTo>
                  <a:lnTo>
                    <a:pt x="2813" y="216"/>
                  </a:lnTo>
                  <a:lnTo>
                    <a:pt x="2793" y="182"/>
                  </a:lnTo>
                  <a:lnTo>
                    <a:pt x="2769" y="150"/>
                  </a:lnTo>
                  <a:lnTo>
                    <a:pt x="2743" y="120"/>
                  </a:lnTo>
                  <a:lnTo>
                    <a:pt x="2713" y="94"/>
                  </a:lnTo>
                  <a:lnTo>
                    <a:pt x="2683" y="70"/>
                  </a:lnTo>
                  <a:lnTo>
                    <a:pt x="2649" y="50"/>
                  </a:lnTo>
                  <a:lnTo>
                    <a:pt x="2613" y="32"/>
                  </a:lnTo>
                  <a:lnTo>
                    <a:pt x="2575" y="18"/>
                  </a:lnTo>
                  <a:lnTo>
                    <a:pt x="2535" y="8"/>
                  </a:lnTo>
                  <a:lnTo>
                    <a:pt x="2495" y="2"/>
                  </a:lnTo>
                  <a:lnTo>
                    <a:pt x="2451" y="0"/>
                  </a:lnTo>
                  <a:lnTo>
                    <a:pt x="2451" y="0"/>
                  </a:lnTo>
                  <a:close/>
                  <a:moveTo>
                    <a:pt x="2451" y="540"/>
                  </a:moveTo>
                  <a:lnTo>
                    <a:pt x="2451" y="540"/>
                  </a:lnTo>
                  <a:lnTo>
                    <a:pt x="2439" y="540"/>
                  </a:lnTo>
                  <a:lnTo>
                    <a:pt x="2425" y="538"/>
                  </a:lnTo>
                  <a:lnTo>
                    <a:pt x="2413" y="536"/>
                  </a:lnTo>
                  <a:lnTo>
                    <a:pt x="2401" y="530"/>
                  </a:lnTo>
                  <a:lnTo>
                    <a:pt x="2391" y="526"/>
                  </a:lnTo>
                  <a:lnTo>
                    <a:pt x="2379" y="518"/>
                  </a:lnTo>
                  <a:lnTo>
                    <a:pt x="2361" y="504"/>
                  </a:lnTo>
                  <a:lnTo>
                    <a:pt x="2345" y="484"/>
                  </a:lnTo>
                  <a:lnTo>
                    <a:pt x="2339" y="474"/>
                  </a:lnTo>
                  <a:lnTo>
                    <a:pt x="2333" y="462"/>
                  </a:lnTo>
                  <a:lnTo>
                    <a:pt x="2329" y="450"/>
                  </a:lnTo>
                  <a:lnTo>
                    <a:pt x="2325" y="438"/>
                  </a:lnTo>
                  <a:lnTo>
                    <a:pt x="2323" y="424"/>
                  </a:lnTo>
                  <a:lnTo>
                    <a:pt x="2323" y="412"/>
                  </a:lnTo>
                  <a:lnTo>
                    <a:pt x="2323" y="412"/>
                  </a:lnTo>
                  <a:lnTo>
                    <a:pt x="2323" y="398"/>
                  </a:lnTo>
                  <a:lnTo>
                    <a:pt x="2325" y="386"/>
                  </a:lnTo>
                  <a:lnTo>
                    <a:pt x="2329" y="374"/>
                  </a:lnTo>
                  <a:lnTo>
                    <a:pt x="2333" y="362"/>
                  </a:lnTo>
                  <a:lnTo>
                    <a:pt x="2339" y="350"/>
                  </a:lnTo>
                  <a:lnTo>
                    <a:pt x="2345" y="340"/>
                  </a:lnTo>
                  <a:lnTo>
                    <a:pt x="2361" y="320"/>
                  </a:lnTo>
                  <a:lnTo>
                    <a:pt x="2379" y="304"/>
                  </a:lnTo>
                  <a:lnTo>
                    <a:pt x="2391" y="298"/>
                  </a:lnTo>
                  <a:lnTo>
                    <a:pt x="2401" y="292"/>
                  </a:lnTo>
                  <a:lnTo>
                    <a:pt x="2413" y="288"/>
                  </a:lnTo>
                  <a:lnTo>
                    <a:pt x="2425" y="286"/>
                  </a:lnTo>
                  <a:lnTo>
                    <a:pt x="2439" y="284"/>
                  </a:lnTo>
                  <a:lnTo>
                    <a:pt x="2451" y="282"/>
                  </a:lnTo>
                  <a:lnTo>
                    <a:pt x="2451" y="282"/>
                  </a:lnTo>
                  <a:lnTo>
                    <a:pt x="2465" y="284"/>
                  </a:lnTo>
                  <a:lnTo>
                    <a:pt x="2477" y="286"/>
                  </a:lnTo>
                  <a:lnTo>
                    <a:pt x="2491" y="288"/>
                  </a:lnTo>
                  <a:lnTo>
                    <a:pt x="2503" y="292"/>
                  </a:lnTo>
                  <a:lnTo>
                    <a:pt x="2513" y="298"/>
                  </a:lnTo>
                  <a:lnTo>
                    <a:pt x="2525" y="304"/>
                  </a:lnTo>
                  <a:lnTo>
                    <a:pt x="2543" y="320"/>
                  </a:lnTo>
                  <a:lnTo>
                    <a:pt x="2559" y="340"/>
                  </a:lnTo>
                  <a:lnTo>
                    <a:pt x="2565" y="350"/>
                  </a:lnTo>
                  <a:lnTo>
                    <a:pt x="2571" y="362"/>
                  </a:lnTo>
                  <a:lnTo>
                    <a:pt x="2575" y="374"/>
                  </a:lnTo>
                  <a:lnTo>
                    <a:pt x="2579" y="386"/>
                  </a:lnTo>
                  <a:lnTo>
                    <a:pt x="2581" y="398"/>
                  </a:lnTo>
                  <a:lnTo>
                    <a:pt x="2581" y="412"/>
                  </a:lnTo>
                  <a:lnTo>
                    <a:pt x="2581" y="412"/>
                  </a:lnTo>
                  <a:lnTo>
                    <a:pt x="2581" y="424"/>
                  </a:lnTo>
                  <a:lnTo>
                    <a:pt x="2579" y="438"/>
                  </a:lnTo>
                  <a:lnTo>
                    <a:pt x="2575" y="450"/>
                  </a:lnTo>
                  <a:lnTo>
                    <a:pt x="2571" y="462"/>
                  </a:lnTo>
                  <a:lnTo>
                    <a:pt x="2565" y="474"/>
                  </a:lnTo>
                  <a:lnTo>
                    <a:pt x="2559" y="484"/>
                  </a:lnTo>
                  <a:lnTo>
                    <a:pt x="2543" y="504"/>
                  </a:lnTo>
                  <a:lnTo>
                    <a:pt x="2525" y="518"/>
                  </a:lnTo>
                  <a:lnTo>
                    <a:pt x="2513" y="526"/>
                  </a:lnTo>
                  <a:lnTo>
                    <a:pt x="2503" y="530"/>
                  </a:lnTo>
                  <a:lnTo>
                    <a:pt x="2491" y="536"/>
                  </a:lnTo>
                  <a:lnTo>
                    <a:pt x="2477" y="538"/>
                  </a:lnTo>
                  <a:lnTo>
                    <a:pt x="2465" y="540"/>
                  </a:lnTo>
                  <a:lnTo>
                    <a:pt x="2451" y="540"/>
                  </a:lnTo>
                  <a:lnTo>
                    <a:pt x="2451" y="540"/>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72" name="Google Shape;3899;p94">
            <a:extLst>
              <a:ext uri="{FF2B5EF4-FFF2-40B4-BE49-F238E27FC236}">
                <a16:creationId xmlns:a16="http://schemas.microsoft.com/office/drawing/2014/main" id="{77538BEF-5E06-4F85-98E5-55501257069E}"/>
              </a:ext>
            </a:extLst>
          </p:cNvPr>
          <p:cNvSpPr/>
          <p:nvPr/>
        </p:nvSpPr>
        <p:spPr>
          <a:xfrm>
            <a:off x="2728789" y="1863822"/>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计划的质量参差不齐 </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并不总是</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现实的 </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并且缺乏实施 </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没有实施/运营计划）。</a:t>
            </a:r>
          </a:p>
        </p:txBody>
      </p:sp>
      <p:sp>
        <p:nvSpPr>
          <p:cNvPr id="73" name="Google Shape;3900;p94">
            <a:extLst>
              <a:ext uri="{FF2B5EF4-FFF2-40B4-BE49-F238E27FC236}">
                <a16:creationId xmlns:a16="http://schemas.microsoft.com/office/drawing/2014/main" id="{74725E63-D372-4678-8A51-4D5C893EEB51}"/>
              </a:ext>
            </a:extLst>
          </p:cNvPr>
          <p:cNvSpPr/>
          <p:nvPr/>
        </p:nvSpPr>
        <p:spPr>
          <a:xfrm>
            <a:off x="1992316" y="1740367"/>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74" name="Google Shape;3901;p94">
            <a:extLst>
              <a:ext uri="{FF2B5EF4-FFF2-40B4-BE49-F238E27FC236}">
                <a16:creationId xmlns:a16="http://schemas.microsoft.com/office/drawing/2014/main" id="{CED87A68-FDDA-4726-A72A-7393566D8907}"/>
              </a:ext>
            </a:extLst>
          </p:cNvPr>
          <p:cNvSpPr/>
          <p:nvPr/>
        </p:nvSpPr>
        <p:spPr>
          <a:xfrm>
            <a:off x="2148269" y="1810479"/>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75" name="Google Shape;3902;p94">
            <a:extLst>
              <a:ext uri="{FF2B5EF4-FFF2-40B4-BE49-F238E27FC236}">
                <a16:creationId xmlns:a16="http://schemas.microsoft.com/office/drawing/2014/main" id="{05D843F5-E7B4-4D29-A5E5-EC02AD8DDE04}"/>
              </a:ext>
            </a:extLst>
          </p:cNvPr>
          <p:cNvSpPr txBox="1"/>
          <p:nvPr/>
        </p:nvSpPr>
        <p:spPr>
          <a:xfrm>
            <a:off x="2000603" y="1933443"/>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sym typeface="Arial"/>
              </a:rPr>
              <a:t>1</a:t>
            </a:r>
            <a:endParaRPr kumimoji="0"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76" name="Google Shape;3903;p94">
            <a:extLst>
              <a:ext uri="{FF2B5EF4-FFF2-40B4-BE49-F238E27FC236}">
                <a16:creationId xmlns:a16="http://schemas.microsoft.com/office/drawing/2014/main" id="{9A216894-F07D-44F6-BD16-FE547D0909DA}"/>
              </a:ext>
            </a:extLst>
          </p:cNvPr>
          <p:cNvGrpSpPr/>
          <p:nvPr/>
        </p:nvGrpSpPr>
        <p:grpSpPr>
          <a:xfrm>
            <a:off x="10214532" y="1862483"/>
            <a:ext cx="466404" cy="466334"/>
            <a:chOff x="4325112" y="2272755"/>
            <a:chExt cx="720108" cy="720000"/>
          </a:xfrm>
          <a:solidFill>
            <a:schemeClr val="accent4">
              <a:lumMod val="50000"/>
            </a:schemeClr>
          </a:solidFill>
        </p:grpSpPr>
        <p:sp>
          <p:nvSpPr>
            <p:cNvPr id="105" name="Google Shape;3904;p94">
              <a:extLst>
                <a:ext uri="{FF2B5EF4-FFF2-40B4-BE49-F238E27FC236}">
                  <a16:creationId xmlns:a16="http://schemas.microsoft.com/office/drawing/2014/main" id="{8F269FFF-547C-4BC2-A4A2-2413C7004356}"/>
                </a:ext>
              </a:extLst>
            </p:cNvPr>
            <p:cNvSpPr/>
            <p:nvPr/>
          </p:nvSpPr>
          <p:spPr>
            <a:xfrm>
              <a:off x="4325112" y="2272755"/>
              <a:ext cx="720108" cy="720000"/>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6" name="Google Shape;3905;p94">
              <a:extLst>
                <a:ext uri="{FF2B5EF4-FFF2-40B4-BE49-F238E27FC236}">
                  <a16:creationId xmlns:a16="http://schemas.microsoft.com/office/drawing/2014/main" id="{EB1911F1-F43D-4746-ABB7-11654738DAD2}"/>
                </a:ext>
              </a:extLst>
            </p:cNvPr>
            <p:cNvSpPr/>
            <p:nvPr/>
          </p:nvSpPr>
          <p:spPr>
            <a:xfrm>
              <a:off x="4402113" y="2345454"/>
              <a:ext cx="570408" cy="570300"/>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7" name="Google Shape;3906;p94">
              <a:extLst>
                <a:ext uri="{FF2B5EF4-FFF2-40B4-BE49-F238E27FC236}">
                  <a16:creationId xmlns:a16="http://schemas.microsoft.com/office/drawing/2014/main" id="{8699BF2B-4776-492B-8B83-27CDD436051F}"/>
                </a:ext>
              </a:extLst>
            </p:cNvPr>
            <p:cNvSpPr/>
            <p:nvPr/>
          </p:nvSpPr>
          <p:spPr>
            <a:xfrm>
              <a:off x="4671185" y="2414927"/>
              <a:ext cx="154432"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79" name="Google Shape;3909;p94">
            <a:extLst>
              <a:ext uri="{FF2B5EF4-FFF2-40B4-BE49-F238E27FC236}">
                <a16:creationId xmlns:a16="http://schemas.microsoft.com/office/drawing/2014/main" id="{F07F64DA-C7FF-4713-AA3A-005C99067771}"/>
              </a:ext>
            </a:extLst>
          </p:cNvPr>
          <p:cNvSpPr/>
          <p:nvPr/>
        </p:nvSpPr>
        <p:spPr>
          <a:xfrm>
            <a:off x="1992316" y="3334354"/>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80" name="Google Shape;3910;p94">
            <a:extLst>
              <a:ext uri="{FF2B5EF4-FFF2-40B4-BE49-F238E27FC236}">
                <a16:creationId xmlns:a16="http://schemas.microsoft.com/office/drawing/2014/main" id="{F8A10ACF-0F8B-4037-BAA6-A614929B2A83}"/>
              </a:ext>
            </a:extLst>
          </p:cNvPr>
          <p:cNvSpPr/>
          <p:nvPr/>
        </p:nvSpPr>
        <p:spPr>
          <a:xfrm>
            <a:off x="2148269" y="3404466"/>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81" name="Google Shape;3911;p94">
            <a:extLst>
              <a:ext uri="{FF2B5EF4-FFF2-40B4-BE49-F238E27FC236}">
                <a16:creationId xmlns:a16="http://schemas.microsoft.com/office/drawing/2014/main" id="{FF65178D-464F-47F9-9A59-A69E769A16CA}"/>
              </a:ext>
            </a:extLst>
          </p:cNvPr>
          <p:cNvSpPr txBox="1"/>
          <p:nvPr/>
        </p:nvSpPr>
        <p:spPr>
          <a:xfrm>
            <a:off x="2000603" y="3527430"/>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sym typeface="Arial"/>
              </a:rPr>
              <a:t>3</a:t>
            </a:r>
            <a:endParaRPr kumimoji="0" sz="2000" b="0" i="0" u="none" strike="noStrike" kern="1200" cap="none" spc="0" normalizeH="0" baseline="0" noProof="0">
              <a:ln>
                <a:noFill/>
              </a:ln>
              <a:solidFill>
                <a:srgbClr val="000000"/>
              </a:solidFill>
              <a:effectLst/>
              <a:uLnTx/>
              <a:uFillTx/>
              <a:latin typeface="Calibri"/>
              <a:ea typeface="+mn-ea"/>
              <a:cs typeface="+mn-cs"/>
            </a:endParaRPr>
          </a:p>
        </p:txBody>
      </p:sp>
      <p:grpSp>
        <p:nvGrpSpPr>
          <p:cNvPr id="82" name="Google Shape;3912;p94">
            <a:extLst>
              <a:ext uri="{FF2B5EF4-FFF2-40B4-BE49-F238E27FC236}">
                <a16:creationId xmlns:a16="http://schemas.microsoft.com/office/drawing/2014/main" id="{A43243E0-D3EB-41D3-810F-456BDCA21C10}"/>
              </a:ext>
            </a:extLst>
          </p:cNvPr>
          <p:cNvGrpSpPr/>
          <p:nvPr/>
        </p:nvGrpSpPr>
        <p:grpSpPr>
          <a:xfrm>
            <a:off x="10214532" y="3357123"/>
            <a:ext cx="466404" cy="466334"/>
            <a:chOff x="986" y="0"/>
            <a:chExt cx="6673" cy="6672"/>
          </a:xfrm>
          <a:solidFill>
            <a:schemeClr val="accent4">
              <a:lumMod val="50000"/>
            </a:schemeClr>
          </a:solidFill>
        </p:grpSpPr>
        <p:sp>
          <p:nvSpPr>
            <p:cNvPr id="103" name="Google Shape;3913;p94">
              <a:extLst>
                <a:ext uri="{FF2B5EF4-FFF2-40B4-BE49-F238E27FC236}">
                  <a16:creationId xmlns:a16="http://schemas.microsoft.com/office/drawing/2014/main" id="{1BD2F032-6FBB-4562-91F7-0EF68B10B0E9}"/>
                </a:ext>
              </a:extLst>
            </p:cNvPr>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4" name="Google Shape;3914;p94">
              <a:extLst>
                <a:ext uri="{FF2B5EF4-FFF2-40B4-BE49-F238E27FC236}">
                  <a16:creationId xmlns:a16="http://schemas.microsoft.com/office/drawing/2014/main" id="{8DBFE704-50A7-400B-A977-06F937616958}"/>
                </a:ext>
              </a:extLst>
            </p:cNvPr>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85" name="Google Shape;3917;p94">
            <a:extLst>
              <a:ext uri="{FF2B5EF4-FFF2-40B4-BE49-F238E27FC236}">
                <a16:creationId xmlns:a16="http://schemas.microsoft.com/office/drawing/2014/main" id="{C89647D8-DF87-4328-A48E-41C8AD5BBAB1}"/>
              </a:ext>
            </a:extLst>
          </p:cNvPr>
          <p:cNvSpPr/>
          <p:nvPr/>
        </p:nvSpPr>
        <p:spPr>
          <a:xfrm>
            <a:off x="1992316" y="4131345"/>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86" name="Google Shape;3918;p94">
            <a:extLst>
              <a:ext uri="{FF2B5EF4-FFF2-40B4-BE49-F238E27FC236}">
                <a16:creationId xmlns:a16="http://schemas.microsoft.com/office/drawing/2014/main" id="{4B638486-9F79-4843-9570-90DE93710DE8}"/>
              </a:ext>
            </a:extLst>
          </p:cNvPr>
          <p:cNvSpPr/>
          <p:nvPr/>
        </p:nvSpPr>
        <p:spPr>
          <a:xfrm>
            <a:off x="2148269" y="4201457"/>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87" name="Google Shape;3919;p94">
            <a:extLst>
              <a:ext uri="{FF2B5EF4-FFF2-40B4-BE49-F238E27FC236}">
                <a16:creationId xmlns:a16="http://schemas.microsoft.com/office/drawing/2014/main" id="{0147964C-4030-45CF-80B1-9E8688618BE7}"/>
              </a:ext>
            </a:extLst>
          </p:cNvPr>
          <p:cNvSpPr txBox="1"/>
          <p:nvPr/>
        </p:nvSpPr>
        <p:spPr>
          <a:xfrm>
            <a:off x="2000603" y="4324421"/>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sym typeface="Arial"/>
              </a:rPr>
              <a:t>4</a:t>
            </a:r>
            <a:endParaRPr kumimoji="0"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88" name="Google Shape;3920;p94">
            <a:extLst>
              <a:ext uri="{FF2B5EF4-FFF2-40B4-BE49-F238E27FC236}">
                <a16:creationId xmlns:a16="http://schemas.microsoft.com/office/drawing/2014/main" id="{6864EE21-75A7-4EC2-A2FB-A525EFE780A7}"/>
              </a:ext>
            </a:extLst>
          </p:cNvPr>
          <p:cNvGrpSpPr/>
          <p:nvPr/>
        </p:nvGrpSpPr>
        <p:grpSpPr>
          <a:xfrm>
            <a:off x="10199684" y="4177905"/>
            <a:ext cx="466404" cy="466334"/>
            <a:chOff x="986" y="0"/>
            <a:chExt cx="6673" cy="6672"/>
          </a:xfrm>
          <a:solidFill>
            <a:schemeClr val="accent4">
              <a:lumMod val="50000"/>
            </a:schemeClr>
          </a:solidFill>
        </p:grpSpPr>
        <p:sp>
          <p:nvSpPr>
            <p:cNvPr id="101" name="Google Shape;3921;p94">
              <a:extLst>
                <a:ext uri="{FF2B5EF4-FFF2-40B4-BE49-F238E27FC236}">
                  <a16:creationId xmlns:a16="http://schemas.microsoft.com/office/drawing/2014/main" id="{E20BD688-B090-426A-8881-CA0E7A66D6DE}"/>
                </a:ext>
              </a:extLst>
            </p:cNvPr>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8"/>
                  </a:moveTo>
                  <a:lnTo>
                    <a:pt x="284" y="6388"/>
                  </a:lnTo>
                  <a:lnTo>
                    <a:pt x="284" y="284"/>
                  </a:lnTo>
                  <a:lnTo>
                    <a:pt x="6389" y="284"/>
                  </a:lnTo>
                  <a:lnTo>
                    <a:pt x="6389" y="6388"/>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2" name="Google Shape;3922;p94">
              <a:extLst>
                <a:ext uri="{FF2B5EF4-FFF2-40B4-BE49-F238E27FC236}">
                  <a16:creationId xmlns:a16="http://schemas.microsoft.com/office/drawing/2014/main" id="{D06D7BB9-23E3-4861-ADB0-AA535AF9F57C}"/>
                </a:ext>
              </a:extLst>
            </p:cNvPr>
            <p:cNvSpPr/>
            <p:nvPr/>
          </p:nvSpPr>
          <p:spPr>
            <a:xfrm>
              <a:off x="1882" y="896"/>
              <a:ext cx="4879" cy="4878"/>
            </a:xfrm>
            <a:custGeom>
              <a:avLst/>
              <a:gdLst/>
              <a:ahLst/>
              <a:cxnLst/>
              <a:rect l="l" t="t" r="r" b="b"/>
              <a:pathLst>
                <a:path w="4879" h="4878" extrusionOk="0">
                  <a:moveTo>
                    <a:pt x="2441" y="4878"/>
                  </a:moveTo>
                  <a:lnTo>
                    <a:pt x="2441" y="4878"/>
                  </a:lnTo>
                  <a:lnTo>
                    <a:pt x="2503" y="4878"/>
                  </a:lnTo>
                  <a:lnTo>
                    <a:pt x="2565" y="4876"/>
                  </a:lnTo>
                  <a:lnTo>
                    <a:pt x="2627" y="4872"/>
                  </a:lnTo>
                  <a:lnTo>
                    <a:pt x="2689" y="4866"/>
                  </a:lnTo>
                  <a:lnTo>
                    <a:pt x="2751" y="4860"/>
                  </a:lnTo>
                  <a:lnTo>
                    <a:pt x="2811" y="4850"/>
                  </a:lnTo>
                  <a:lnTo>
                    <a:pt x="2871" y="4840"/>
                  </a:lnTo>
                  <a:lnTo>
                    <a:pt x="2931" y="4830"/>
                  </a:lnTo>
                  <a:lnTo>
                    <a:pt x="2991" y="4816"/>
                  </a:lnTo>
                  <a:lnTo>
                    <a:pt x="3049" y="4802"/>
                  </a:lnTo>
                  <a:lnTo>
                    <a:pt x="3107" y="4786"/>
                  </a:lnTo>
                  <a:lnTo>
                    <a:pt x="3165" y="4770"/>
                  </a:lnTo>
                  <a:lnTo>
                    <a:pt x="3223" y="4750"/>
                  </a:lnTo>
                  <a:lnTo>
                    <a:pt x="3279" y="4730"/>
                  </a:lnTo>
                  <a:lnTo>
                    <a:pt x="3335" y="4710"/>
                  </a:lnTo>
                  <a:lnTo>
                    <a:pt x="3389" y="4686"/>
                  </a:lnTo>
                  <a:lnTo>
                    <a:pt x="3443" y="4664"/>
                  </a:lnTo>
                  <a:lnTo>
                    <a:pt x="3497" y="4638"/>
                  </a:lnTo>
                  <a:lnTo>
                    <a:pt x="3551" y="4612"/>
                  </a:lnTo>
                  <a:lnTo>
                    <a:pt x="3603" y="4584"/>
                  </a:lnTo>
                  <a:lnTo>
                    <a:pt x="3653" y="4556"/>
                  </a:lnTo>
                  <a:lnTo>
                    <a:pt x="3705" y="4526"/>
                  </a:lnTo>
                  <a:lnTo>
                    <a:pt x="3755" y="4494"/>
                  </a:lnTo>
                  <a:lnTo>
                    <a:pt x="3803" y="4462"/>
                  </a:lnTo>
                  <a:lnTo>
                    <a:pt x="3851" y="4428"/>
                  </a:lnTo>
                  <a:lnTo>
                    <a:pt x="3899" y="4394"/>
                  </a:lnTo>
                  <a:lnTo>
                    <a:pt x="3945" y="4358"/>
                  </a:lnTo>
                  <a:lnTo>
                    <a:pt x="3991" y="4322"/>
                  </a:lnTo>
                  <a:lnTo>
                    <a:pt x="4035" y="4284"/>
                  </a:lnTo>
                  <a:lnTo>
                    <a:pt x="4079" y="4244"/>
                  </a:lnTo>
                  <a:lnTo>
                    <a:pt x="4123" y="4204"/>
                  </a:lnTo>
                  <a:lnTo>
                    <a:pt x="4165" y="4164"/>
                  </a:lnTo>
                  <a:lnTo>
                    <a:pt x="4205" y="4122"/>
                  </a:lnTo>
                  <a:lnTo>
                    <a:pt x="4245" y="4078"/>
                  </a:lnTo>
                  <a:lnTo>
                    <a:pt x="4285" y="4036"/>
                  </a:lnTo>
                  <a:lnTo>
                    <a:pt x="4323" y="3990"/>
                  </a:lnTo>
                  <a:lnTo>
                    <a:pt x="4359" y="3944"/>
                  </a:lnTo>
                  <a:lnTo>
                    <a:pt x="4395" y="3898"/>
                  </a:lnTo>
                  <a:lnTo>
                    <a:pt x="4429" y="3850"/>
                  </a:lnTo>
                  <a:lnTo>
                    <a:pt x="4463" y="3802"/>
                  </a:lnTo>
                  <a:lnTo>
                    <a:pt x="4495" y="3754"/>
                  </a:lnTo>
                  <a:lnTo>
                    <a:pt x="4527" y="3704"/>
                  </a:lnTo>
                  <a:lnTo>
                    <a:pt x="4557" y="3652"/>
                  </a:lnTo>
                  <a:lnTo>
                    <a:pt x="4585" y="3602"/>
                  </a:lnTo>
                  <a:lnTo>
                    <a:pt x="4613" y="3550"/>
                  </a:lnTo>
                  <a:lnTo>
                    <a:pt x="4639" y="3496"/>
                  </a:lnTo>
                  <a:lnTo>
                    <a:pt x="4663" y="3442"/>
                  </a:lnTo>
                  <a:lnTo>
                    <a:pt x="4687" y="3388"/>
                  </a:lnTo>
                  <a:lnTo>
                    <a:pt x="4711" y="3334"/>
                  </a:lnTo>
                  <a:lnTo>
                    <a:pt x="4731" y="3278"/>
                  </a:lnTo>
                  <a:lnTo>
                    <a:pt x="4751" y="3222"/>
                  </a:lnTo>
                  <a:lnTo>
                    <a:pt x="4769" y="3164"/>
                  </a:lnTo>
                  <a:lnTo>
                    <a:pt x="4787" y="3106"/>
                  </a:lnTo>
                  <a:lnTo>
                    <a:pt x="4803" y="3048"/>
                  </a:lnTo>
                  <a:lnTo>
                    <a:pt x="4817" y="2990"/>
                  </a:lnTo>
                  <a:lnTo>
                    <a:pt x="4831" y="2930"/>
                  </a:lnTo>
                  <a:lnTo>
                    <a:pt x="4841" y="2872"/>
                  </a:lnTo>
                  <a:lnTo>
                    <a:pt x="4851" y="2810"/>
                  </a:lnTo>
                  <a:lnTo>
                    <a:pt x="4861" y="2750"/>
                  </a:lnTo>
                  <a:lnTo>
                    <a:pt x="4867" y="2688"/>
                  </a:lnTo>
                  <a:lnTo>
                    <a:pt x="4873" y="2628"/>
                  </a:lnTo>
                  <a:lnTo>
                    <a:pt x="4877" y="2566"/>
                  </a:lnTo>
                  <a:lnTo>
                    <a:pt x="4879" y="2502"/>
                  </a:lnTo>
                  <a:lnTo>
                    <a:pt x="4879" y="2440"/>
                  </a:lnTo>
                  <a:lnTo>
                    <a:pt x="4879" y="2440"/>
                  </a:lnTo>
                  <a:lnTo>
                    <a:pt x="4879" y="2376"/>
                  </a:lnTo>
                  <a:lnTo>
                    <a:pt x="4877" y="2314"/>
                  </a:lnTo>
                  <a:lnTo>
                    <a:pt x="4873" y="2252"/>
                  </a:lnTo>
                  <a:lnTo>
                    <a:pt x="4867" y="2190"/>
                  </a:lnTo>
                  <a:lnTo>
                    <a:pt x="4861" y="2130"/>
                  </a:lnTo>
                  <a:lnTo>
                    <a:pt x="4851" y="2068"/>
                  </a:lnTo>
                  <a:lnTo>
                    <a:pt x="4841" y="2008"/>
                  </a:lnTo>
                  <a:lnTo>
                    <a:pt x="4831" y="1948"/>
                  </a:lnTo>
                  <a:lnTo>
                    <a:pt x="4817" y="1890"/>
                  </a:lnTo>
                  <a:lnTo>
                    <a:pt x="4803" y="1830"/>
                  </a:lnTo>
                  <a:lnTo>
                    <a:pt x="4787" y="1772"/>
                  </a:lnTo>
                  <a:lnTo>
                    <a:pt x="4769" y="1716"/>
                  </a:lnTo>
                  <a:lnTo>
                    <a:pt x="4751" y="1658"/>
                  </a:lnTo>
                  <a:lnTo>
                    <a:pt x="4731" y="1602"/>
                  </a:lnTo>
                  <a:lnTo>
                    <a:pt x="4711" y="1546"/>
                  </a:lnTo>
                  <a:lnTo>
                    <a:pt x="4687" y="1492"/>
                  </a:lnTo>
                  <a:lnTo>
                    <a:pt x="4663" y="1436"/>
                  </a:lnTo>
                  <a:lnTo>
                    <a:pt x="4639" y="1384"/>
                  </a:lnTo>
                  <a:lnTo>
                    <a:pt x="4613" y="1330"/>
                  </a:lnTo>
                  <a:lnTo>
                    <a:pt x="4585" y="1278"/>
                  </a:lnTo>
                  <a:lnTo>
                    <a:pt x="4557" y="1226"/>
                  </a:lnTo>
                  <a:lnTo>
                    <a:pt x="4527" y="1176"/>
                  </a:lnTo>
                  <a:lnTo>
                    <a:pt x="4495" y="1126"/>
                  </a:lnTo>
                  <a:lnTo>
                    <a:pt x="4463" y="1078"/>
                  </a:lnTo>
                  <a:lnTo>
                    <a:pt x="4429" y="1028"/>
                  </a:lnTo>
                  <a:lnTo>
                    <a:pt x="4395" y="982"/>
                  </a:lnTo>
                  <a:lnTo>
                    <a:pt x="4359" y="934"/>
                  </a:lnTo>
                  <a:lnTo>
                    <a:pt x="4323" y="890"/>
                  </a:lnTo>
                  <a:lnTo>
                    <a:pt x="4285" y="844"/>
                  </a:lnTo>
                  <a:lnTo>
                    <a:pt x="4245" y="800"/>
                  </a:lnTo>
                  <a:lnTo>
                    <a:pt x="4205" y="758"/>
                  </a:lnTo>
                  <a:lnTo>
                    <a:pt x="4165" y="716"/>
                  </a:lnTo>
                  <a:lnTo>
                    <a:pt x="4123" y="676"/>
                  </a:lnTo>
                  <a:lnTo>
                    <a:pt x="4079" y="636"/>
                  </a:lnTo>
                  <a:lnTo>
                    <a:pt x="4035" y="596"/>
                  </a:lnTo>
                  <a:lnTo>
                    <a:pt x="3991" y="558"/>
                  </a:lnTo>
                  <a:lnTo>
                    <a:pt x="3945" y="522"/>
                  </a:lnTo>
                  <a:lnTo>
                    <a:pt x="3899" y="486"/>
                  </a:lnTo>
                  <a:lnTo>
                    <a:pt x="3851" y="452"/>
                  </a:lnTo>
                  <a:lnTo>
                    <a:pt x="3803" y="418"/>
                  </a:lnTo>
                  <a:lnTo>
                    <a:pt x="3755" y="386"/>
                  </a:lnTo>
                  <a:lnTo>
                    <a:pt x="3705" y="354"/>
                  </a:lnTo>
                  <a:lnTo>
                    <a:pt x="3653" y="324"/>
                  </a:lnTo>
                  <a:lnTo>
                    <a:pt x="3603" y="296"/>
                  </a:lnTo>
                  <a:lnTo>
                    <a:pt x="3551" y="268"/>
                  </a:lnTo>
                  <a:lnTo>
                    <a:pt x="3497" y="242"/>
                  </a:lnTo>
                  <a:lnTo>
                    <a:pt x="3443" y="216"/>
                  </a:lnTo>
                  <a:lnTo>
                    <a:pt x="3389" y="192"/>
                  </a:lnTo>
                  <a:lnTo>
                    <a:pt x="3335" y="170"/>
                  </a:lnTo>
                  <a:lnTo>
                    <a:pt x="3279" y="150"/>
                  </a:lnTo>
                  <a:lnTo>
                    <a:pt x="3223" y="130"/>
                  </a:lnTo>
                  <a:lnTo>
                    <a:pt x="3165" y="110"/>
                  </a:lnTo>
                  <a:lnTo>
                    <a:pt x="3107" y="94"/>
                  </a:lnTo>
                  <a:lnTo>
                    <a:pt x="3049" y="78"/>
                  </a:lnTo>
                  <a:lnTo>
                    <a:pt x="2991" y="64"/>
                  </a:lnTo>
                  <a:lnTo>
                    <a:pt x="2931" y="50"/>
                  </a:lnTo>
                  <a:lnTo>
                    <a:pt x="2871" y="38"/>
                  </a:lnTo>
                  <a:lnTo>
                    <a:pt x="2811" y="28"/>
                  </a:lnTo>
                  <a:lnTo>
                    <a:pt x="2751" y="20"/>
                  </a:lnTo>
                  <a:lnTo>
                    <a:pt x="2689" y="14"/>
                  </a:lnTo>
                  <a:lnTo>
                    <a:pt x="2627" y="8"/>
                  </a:lnTo>
                  <a:lnTo>
                    <a:pt x="2565" y="4"/>
                  </a:lnTo>
                  <a:lnTo>
                    <a:pt x="2503" y="2"/>
                  </a:lnTo>
                  <a:lnTo>
                    <a:pt x="2441" y="0"/>
                  </a:lnTo>
                  <a:lnTo>
                    <a:pt x="2441" y="0"/>
                  </a:lnTo>
                  <a:lnTo>
                    <a:pt x="2376" y="2"/>
                  </a:lnTo>
                  <a:lnTo>
                    <a:pt x="2314" y="4"/>
                  </a:lnTo>
                  <a:lnTo>
                    <a:pt x="2252" y="8"/>
                  </a:lnTo>
                  <a:lnTo>
                    <a:pt x="2190" y="14"/>
                  </a:lnTo>
                  <a:lnTo>
                    <a:pt x="2130" y="20"/>
                  </a:lnTo>
                  <a:lnTo>
                    <a:pt x="2068" y="28"/>
                  </a:lnTo>
                  <a:lnTo>
                    <a:pt x="2008" y="38"/>
                  </a:lnTo>
                  <a:lnTo>
                    <a:pt x="1948" y="50"/>
                  </a:lnTo>
                  <a:lnTo>
                    <a:pt x="1890" y="64"/>
                  </a:lnTo>
                  <a:lnTo>
                    <a:pt x="1830" y="78"/>
                  </a:lnTo>
                  <a:lnTo>
                    <a:pt x="1772" y="94"/>
                  </a:lnTo>
                  <a:lnTo>
                    <a:pt x="1716" y="110"/>
                  </a:lnTo>
                  <a:lnTo>
                    <a:pt x="1658" y="130"/>
                  </a:lnTo>
                  <a:lnTo>
                    <a:pt x="1602" y="150"/>
                  </a:lnTo>
                  <a:lnTo>
                    <a:pt x="1546" y="170"/>
                  </a:lnTo>
                  <a:lnTo>
                    <a:pt x="1492" y="192"/>
                  </a:lnTo>
                  <a:lnTo>
                    <a:pt x="1436" y="216"/>
                  </a:lnTo>
                  <a:lnTo>
                    <a:pt x="1384" y="242"/>
                  </a:lnTo>
                  <a:lnTo>
                    <a:pt x="1330" y="268"/>
                  </a:lnTo>
                  <a:lnTo>
                    <a:pt x="1278" y="296"/>
                  </a:lnTo>
                  <a:lnTo>
                    <a:pt x="1226" y="324"/>
                  </a:lnTo>
                  <a:lnTo>
                    <a:pt x="1176" y="354"/>
                  </a:lnTo>
                  <a:lnTo>
                    <a:pt x="1126" y="386"/>
                  </a:lnTo>
                  <a:lnTo>
                    <a:pt x="1076" y="418"/>
                  </a:lnTo>
                  <a:lnTo>
                    <a:pt x="1028" y="452"/>
                  </a:lnTo>
                  <a:lnTo>
                    <a:pt x="982" y="486"/>
                  </a:lnTo>
                  <a:lnTo>
                    <a:pt x="934" y="522"/>
                  </a:lnTo>
                  <a:lnTo>
                    <a:pt x="890" y="558"/>
                  </a:lnTo>
                  <a:lnTo>
                    <a:pt x="844" y="596"/>
                  </a:lnTo>
                  <a:lnTo>
                    <a:pt x="800" y="636"/>
                  </a:lnTo>
                  <a:lnTo>
                    <a:pt x="758" y="676"/>
                  </a:lnTo>
                  <a:lnTo>
                    <a:pt x="716" y="716"/>
                  </a:lnTo>
                  <a:lnTo>
                    <a:pt x="674" y="758"/>
                  </a:lnTo>
                  <a:lnTo>
                    <a:pt x="634" y="800"/>
                  </a:lnTo>
                  <a:lnTo>
                    <a:pt x="596" y="844"/>
                  </a:lnTo>
                  <a:lnTo>
                    <a:pt x="558" y="890"/>
                  </a:lnTo>
                  <a:lnTo>
                    <a:pt x="522" y="934"/>
                  </a:lnTo>
                  <a:lnTo>
                    <a:pt x="486" y="982"/>
                  </a:lnTo>
                  <a:lnTo>
                    <a:pt x="452" y="1028"/>
                  </a:lnTo>
                  <a:lnTo>
                    <a:pt x="418" y="1078"/>
                  </a:lnTo>
                  <a:lnTo>
                    <a:pt x="386" y="1126"/>
                  </a:lnTo>
                  <a:lnTo>
                    <a:pt x="354" y="1176"/>
                  </a:lnTo>
                  <a:lnTo>
                    <a:pt x="324" y="1226"/>
                  </a:lnTo>
                  <a:lnTo>
                    <a:pt x="296" y="1278"/>
                  </a:lnTo>
                  <a:lnTo>
                    <a:pt x="268" y="1330"/>
                  </a:lnTo>
                  <a:lnTo>
                    <a:pt x="242" y="1384"/>
                  </a:lnTo>
                  <a:lnTo>
                    <a:pt x="216" y="1436"/>
                  </a:lnTo>
                  <a:lnTo>
                    <a:pt x="192" y="1492"/>
                  </a:lnTo>
                  <a:lnTo>
                    <a:pt x="170" y="1546"/>
                  </a:lnTo>
                  <a:lnTo>
                    <a:pt x="148" y="1602"/>
                  </a:lnTo>
                  <a:lnTo>
                    <a:pt x="128" y="1658"/>
                  </a:lnTo>
                  <a:lnTo>
                    <a:pt x="110" y="1716"/>
                  </a:lnTo>
                  <a:lnTo>
                    <a:pt x="94" y="1772"/>
                  </a:lnTo>
                  <a:lnTo>
                    <a:pt x="78" y="1830"/>
                  </a:lnTo>
                  <a:lnTo>
                    <a:pt x="64" y="1890"/>
                  </a:lnTo>
                  <a:lnTo>
                    <a:pt x="50" y="1948"/>
                  </a:lnTo>
                  <a:lnTo>
                    <a:pt x="38" y="2008"/>
                  </a:lnTo>
                  <a:lnTo>
                    <a:pt x="28" y="2068"/>
                  </a:lnTo>
                  <a:lnTo>
                    <a:pt x="20" y="2130"/>
                  </a:lnTo>
                  <a:lnTo>
                    <a:pt x="14" y="2190"/>
                  </a:lnTo>
                  <a:lnTo>
                    <a:pt x="8" y="2252"/>
                  </a:lnTo>
                  <a:lnTo>
                    <a:pt x="4" y="2314"/>
                  </a:lnTo>
                  <a:lnTo>
                    <a:pt x="2" y="2376"/>
                  </a:lnTo>
                  <a:lnTo>
                    <a:pt x="0" y="2440"/>
                  </a:lnTo>
                  <a:lnTo>
                    <a:pt x="0" y="2440"/>
                  </a:lnTo>
                  <a:lnTo>
                    <a:pt x="2" y="2502"/>
                  </a:lnTo>
                  <a:lnTo>
                    <a:pt x="4" y="2566"/>
                  </a:lnTo>
                  <a:lnTo>
                    <a:pt x="8" y="2628"/>
                  </a:lnTo>
                  <a:lnTo>
                    <a:pt x="14" y="2688"/>
                  </a:lnTo>
                  <a:lnTo>
                    <a:pt x="20" y="2750"/>
                  </a:lnTo>
                  <a:lnTo>
                    <a:pt x="28" y="2810"/>
                  </a:lnTo>
                  <a:lnTo>
                    <a:pt x="38" y="2872"/>
                  </a:lnTo>
                  <a:lnTo>
                    <a:pt x="50" y="2930"/>
                  </a:lnTo>
                  <a:lnTo>
                    <a:pt x="64" y="2990"/>
                  </a:lnTo>
                  <a:lnTo>
                    <a:pt x="78" y="3048"/>
                  </a:lnTo>
                  <a:lnTo>
                    <a:pt x="94" y="3106"/>
                  </a:lnTo>
                  <a:lnTo>
                    <a:pt x="110" y="3164"/>
                  </a:lnTo>
                  <a:lnTo>
                    <a:pt x="128" y="3222"/>
                  </a:lnTo>
                  <a:lnTo>
                    <a:pt x="148" y="3278"/>
                  </a:lnTo>
                  <a:lnTo>
                    <a:pt x="170" y="3334"/>
                  </a:lnTo>
                  <a:lnTo>
                    <a:pt x="192" y="3388"/>
                  </a:lnTo>
                  <a:lnTo>
                    <a:pt x="216" y="3442"/>
                  </a:lnTo>
                  <a:lnTo>
                    <a:pt x="242" y="3496"/>
                  </a:lnTo>
                  <a:lnTo>
                    <a:pt x="268" y="3550"/>
                  </a:lnTo>
                  <a:lnTo>
                    <a:pt x="296" y="3602"/>
                  </a:lnTo>
                  <a:lnTo>
                    <a:pt x="324" y="3652"/>
                  </a:lnTo>
                  <a:lnTo>
                    <a:pt x="354" y="3704"/>
                  </a:lnTo>
                  <a:lnTo>
                    <a:pt x="386" y="3754"/>
                  </a:lnTo>
                  <a:lnTo>
                    <a:pt x="418" y="3802"/>
                  </a:lnTo>
                  <a:lnTo>
                    <a:pt x="452" y="3850"/>
                  </a:lnTo>
                  <a:lnTo>
                    <a:pt x="486" y="3898"/>
                  </a:lnTo>
                  <a:lnTo>
                    <a:pt x="522" y="3944"/>
                  </a:lnTo>
                  <a:lnTo>
                    <a:pt x="558" y="3990"/>
                  </a:lnTo>
                  <a:lnTo>
                    <a:pt x="596" y="4036"/>
                  </a:lnTo>
                  <a:lnTo>
                    <a:pt x="634" y="4078"/>
                  </a:lnTo>
                  <a:lnTo>
                    <a:pt x="674" y="4122"/>
                  </a:lnTo>
                  <a:lnTo>
                    <a:pt x="716" y="4164"/>
                  </a:lnTo>
                  <a:lnTo>
                    <a:pt x="758" y="4204"/>
                  </a:lnTo>
                  <a:lnTo>
                    <a:pt x="800" y="4244"/>
                  </a:lnTo>
                  <a:lnTo>
                    <a:pt x="844" y="4284"/>
                  </a:lnTo>
                  <a:lnTo>
                    <a:pt x="890" y="4322"/>
                  </a:lnTo>
                  <a:lnTo>
                    <a:pt x="934" y="4358"/>
                  </a:lnTo>
                  <a:lnTo>
                    <a:pt x="982" y="4394"/>
                  </a:lnTo>
                  <a:lnTo>
                    <a:pt x="1028" y="4428"/>
                  </a:lnTo>
                  <a:lnTo>
                    <a:pt x="1076" y="4462"/>
                  </a:lnTo>
                  <a:lnTo>
                    <a:pt x="1126" y="4494"/>
                  </a:lnTo>
                  <a:lnTo>
                    <a:pt x="1176" y="4526"/>
                  </a:lnTo>
                  <a:lnTo>
                    <a:pt x="1226" y="4556"/>
                  </a:lnTo>
                  <a:lnTo>
                    <a:pt x="1278" y="4584"/>
                  </a:lnTo>
                  <a:lnTo>
                    <a:pt x="1330" y="4612"/>
                  </a:lnTo>
                  <a:lnTo>
                    <a:pt x="1384" y="4638"/>
                  </a:lnTo>
                  <a:lnTo>
                    <a:pt x="1436" y="4664"/>
                  </a:lnTo>
                  <a:lnTo>
                    <a:pt x="1492" y="4686"/>
                  </a:lnTo>
                  <a:lnTo>
                    <a:pt x="1546" y="4710"/>
                  </a:lnTo>
                  <a:lnTo>
                    <a:pt x="1602" y="4730"/>
                  </a:lnTo>
                  <a:lnTo>
                    <a:pt x="1658" y="4750"/>
                  </a:lnTo>
                  <a:lnTo>
                    <a:pt x="1716" y="4770"/>
                  </a:lnTo>
                  <a:lnTo>
                    <a:pt x="1772" y="4786"/>
                  </a:lnTo>
                  <a:lnTo>
                    <a:pt x="1830" y="4802"/>
                  </a:lnTo>
                  <a:lnTo>
                    <a:pt x="1890" y="4816"/>
                  </a:lnTo>
                  <a:lnTo>
                    <a:pt x="1948" y="4830"/>
                  </a:lnTo>
                  <a:lnTo>
                    <a:pt x="2008" y="4840"/>
                  </a:lnTo>
                  <a:lnTo>
                    <a:pt x="2068" y="4850"/>
                  </a:lnTo>
                  <a:lnTo>
                    <a:pt x="2130" y="4860"/>
                  </a:lnTo>
                  <a:lnTo>
                    <a:pt x="2190" y="4866"/>
                  </a:lnTo>
                  <a:lnTo>
                    <a:pt x="2252" y="4872"/>
                  </a:lnTo>
                  <a:lnTo>
                    <a:pt x="2314" y="4876"/>
                  </a:lnTo>
                  <a:lnTo>
                    <a:pt x="2376" y="4878"/>
                  </a:lnTo>
                  <a:lnTo>
                    <a:pt x="2441" y="4878"/>
                  </a:lnTo>
                  <a:lnTo>
                    <a:pt x="2441" y="4878"/>
                  </a:lnTo>
                  <a:close/>
                  <a:moveTo>
                    <a:pt x="716" y="3730"/>
                  </a:moveTo>
                  <a:lnTo>
                    <a:pt x="1206" y="3730"/>
                  </a:lnTo>
                  <a:lnTo>
                    <a:pt x="1206" y="3730"/>
                  </a:lnTo>
                  <a:lnTo>
                    <a:pt x="1244" y="3830"/>
                  </a:lnTo>
                  <a:lnTo>
                    <a:pt x="1284" y="3924"/>
                  </a:lnTo>
                  <a:lnTo>
                    <a:pt x="1328" y="4016"/>
                  </a:lnTo>
                  <a:lnTo>
                    <a:pt x="1374" y="4104"/>
                  </a:lnTo>
                  <a:lnTo>
                    <a:pt x="1422" y="4188"/>
                  </a:lnTo>
                  <a:lnTo>
                    <a:pt x="1472" y="4268"/>
                  </a:lnTo>
                  <a:lnTo>
                    <a:pt x="1526" y="4344"/>
                  </a:lnTo>
                  <a:lnTo>
                    <a:pt x="1580" y="4416"/>
                  </a:lnTo>
                  <a:lnTo>
                    <a:pt x="1580" y="4416"/>
                  </a:lnTo>
                  <a:lnTo>
                    <a:pt x="1516" y="4386"/>
                  </a:lnTo>
                  <a:lnTo>
                    <a:pt x="1454" y="4354"/>
                  </a:lnTo>
                  <a:lnTo>
                    <a:pt x="1392" y="4322"/>
                  </a:lnTo>
                  <a:lnTo>
                    <a:pt x="1332" y="4286"/>
                  </a:lnTo>
                  <a:lnTo>
                    <a:pt x="1272" y="4250"/>
                  </a:lnTo>
                  <a:lnTo>
                    <a:pt x="1214" y="4210"/>
                  </a:lnTo>
                  <a:lnTo>
                    <a:pt x="1158" y="4170"/>
                  </a:lnTo>
                  <a:lnTo>
                    <a:pt x="1102" y="4128"/>
                  </a:lnTo>
                  <a:lnTo>
                    <a:pt x="1048" y="4084"/>
                  </a:lnTo>
                  <a:lnTo>
                    <a:pt x="996" y="4038"/>
                  </a:lnTo>
                  <a:lnTo>
                    <a:pt x="946" y="3990"/>
                  </a:lnTo>
                  <a:lnTo>
                    <a:pt x="896" y="3942"/>
                  </a:lnTo>
                  <a:lnTo>
                    <a:pt x="848" y="3892"/>
                  </a:lnTo>
                  <a:lnTo>
                    <a:pt x="802" y="3840"/>
                  </a:lnTo>
                  <a:lnTo>
                    <a:pt x="758" y="3786"/>
                  </a:lnTo>
                  <a:lnTo>
                    <a:pt x="716" y="3730"/>
                  </a:lnTo>
                  <a:lnTo>
                    <a:pt x="716" y="3730"/>
                  </a:lnTo>
                  <a:close/>
                  <a:moveTo>
                    <a:pt x="852" y="1434"/>
                  </a:moveTo>
                  <a:lnTo>
                    <a:pt x="852" y="1434"/>
                  </a:lnTo>
                  <a:lnTo>
                    <a:pt x="864" y="1480"/>
                  </a:lnTo>
                  <a:lnTo>
                    <a:pt x="880" y="1526"/>
                  </a:lnTo>
                  <a:lnTo>
                    <a:pt x="900" y="1568"/>
                  </a:lnTo>
                  <a:lnTo>
                    <a:pt x="924" y="1608"/>
                  </a:lnTo>
                  <a:lnTo>
                    <a:pt x="952" y="1648"/>
                  </a:lnTo>
                  <a:lnTo>
                    <a:pt x="982" y="1682"/>
                  </a:lnTo>
                  <a:lnTo>
                    <a:pt x="1016" y="1716"/>
                  </a:lnTo>
                  <a:lnTo>
                    <a:pt x="1052" y="1746"/>
                  </a:lnTo>
                  <a:lnTo>
                    <a:pt x="1052" y="1746"/>
                  </a:lnTo>
                  <a:lnTo>
                    <a:pt x="1040" y="1812"/>
                  </a:lnTo>
                  <a:lnTo>
                    <a:pt x="1030" y="1880"/>
                  </a:lnTo>
                  <a:lnTo>
                    <a:pt x="1014" y="2018"/>
                  </a:lnTo>
                  <a:lnTo>
                    <a:pt x="1002" y="2158"/>
                  </a:lnTo>
                  <a:lnTo>
                    <a:pt x="998" y="2228"/>
                  </a:lnTo>
                  <a:lnTo>
                    <a:pt x="996" y="2298"/>
                  </a:lnTo>
                  <a:lnTo>
                    <a:pt x="290" y="2298"/>
                  </a:lnTo>
                  <a:lnTo>
                    <a:pt x="290" y="2298"/>
                  </a:lnTo>
                  <a:lnTo>
                    <a:pt x="294" y="2240"/>
                  </a:lnTo>
                  <a:lnTo>
                    <a:pt x="302" y="2182"/>
                  </a:lnTo>
                  <a:lnTo>
                    <a:pt x="308" y="2124"/>
                  </a:lnTo>
                  <a:lnTo>
                    <a:pt x="318" y="2068"/>
                  </a:lnTo>
                  <a:lnTo>
                    <a:pt x="328" y="2012"/>
                  </a:lnTo>
                  <a:lnTo>
                    <a:pt x="340" y="1956"/>
                  </a:lnTo>
                  <a:lnTo>
                    <a:pt x="354" y="1902"/>
                  </a:lnTo>
                  <a:lnTo>
                    <a:pt x="368" y="1848"/>
                  </a:lnTo>
                  <a:lnTo>
                    <a:pt x="384" y="1794"/>
                  </a:lnTo>
                  <a:lnTo>
                    <a:pt x="402" y="1740"/>
                  </a:lnTo>
                  <a:lnTo>
                    <a:pt x="422" y="1688"/>
                  </a:lnTo>
                  <a:lnTo>
                    <a:pt x="442" y="1636"/>
                  </a:lnTo>
                  <a:lnTo>
                    <a:pt x="464" y="1584"/>
                  </a:lnTo>
                  <a:lnTo>
                    <a:pt x="486" y="1534"/>
                  </a:lnTo>
                  <a:lnTo>
                    <a:pt x="510" y="1484"/>
                  </a:lnTo>
                  <a:lnTo>
                    <a:pt x="536" y="1434"/>
                  </a:lnTo>
                  <a:lnTo>
                    <a:pt x="852" y="1434"/>
                  </a:lnTo>
                  <a:close/>
                  <a:moveTo>
                    <a:pt x="4589" y="2298"/>
                  </a:moveTo>
                  <a:lnTo>
                    <a:pt x="4253" y="2298"/>
                  </a:lnTo>
                  <a:lnTo>
                    <a:pt x="4253" y="2298"/>
                  </a:lnTo>
                  <a:lnTo>
                    <a:pt x="4241" y="2266"/>
                  </a:lnTo>
                  <a:lnTo>
                    <a:pt x="4225" y="2236"/>
                  </a:lnTo>
                  <a:lnTo>
                    <a:pt x="4209" y="2206"/>
                  </a:lnTo>
                  <a:lnTo>
                    <a:pt x="4191" y="2178"/>
                  </a:lnTo>
                  <a:lnTo>
                    <a:pt x="4171" y="2152"/>
                  </a:lnTo>
                  <a:lnTo>
                    <a:pt x="4149" y="2126"/>
                  </a:lnTo>
                  <a:lnTo>
                    <a:pt x="4125" y="2102"/>
                  </a:lnTo>
                  <a:lnTo>
                    <a:pt x="4101" y="2080"/>
                  </a:lnTo>
                  <a:lnTo>
                    <a:pt x="4075" y="2058"/>
                  </a:lnTo>
                  <a:lnTo>
                    <a:pt x="4049" y="2040"/>
                  </a:lnTo>
                  <a:lnTo>
                    <a:pt x="4019" y="2022"/>
                  </a:lnTo>
                  <a:lnTo>
                    <a:pt x="3989" y="2006"/>
                  </a:lnTo>
                  <a:lnTo>
                    <a:pt x="3959" y="1992"/>
                  </a:lnTo>
                  <a:lnTo>
                    <a:pt x="3927" y="1980"/>
                  </a:lnTo>
                  <a:lnTo>
                    <a:pt x="3895" y="1970"/>
                  </a:lnTo>
                  <a:lnTo>
                    <a:pt x="3861" y="1962"/>
                  </a:lnTo>
                  <a:lnTo>
                    <a:pt x="3861" y="1962"/>
                  </a:lnTo>
                  <a:lnTo>
                    <a:pt x="3853" y="1894"/>
                  </a:lnTo>
                  <a:lnTo>
                    <a:pt x="3843" y="1824"/>
                  </a:lnTo>
                  <a:lnTo>
                    <a:pt x="3831" y="1758"/>
                  </a:lnTo>
                  <a:lnTo>
                    <a:pt x="3819" y="1690"/>
                  </a:lnTo>
                  <a:lnTo>
                    <a:pt x="3807" y="1626"/>
                  </a:lnTo>
                  <a:lnTo>
                    <a:pt x="3793" y="1560"/>
                  </a:lnTo>
                  <a:lnTo>
                    <a:pt x="3779" y="1496"/>
                  </a:lnTo>
                  <a:lnTo>
                    <a:pt x="3763" y="1434"/>
                  </a:lnTo>
                  <a:lnTo>
                    <a:pt x="4345" y="1434"/>
                  </a:lnTo>
                  <a:lnTo>
                    <a:pt x="4345" y="1434"/>
                  </a:lnTo>
                  <a:lnTo>
                    <a:pt x="4371" y="1484"/>
                  </a:lnTo>
                  <a:lnTo>
                    <a:pt x="4395" y="1534"/>
                  </a:lnTo>
                  <a:lnTo>
                    <a:pt x="4417" y="1584"/>
                  </a:lnTo>
                  <a:lnTo>
                    <a:pt x="4439" y="1636"/>
                  </a:lnTo>
                  <a:lnTo>
                    <a:pt x="4459" y="1688"/>
                  </a:lnTo>
                  <a:lnTo>
                    <a:pt x="4477" y="1740"/>
                  </a:lnTo>
                  <a:lnTo>
                    <a:pt x="4495" y="1794"/>
                  </a:lnTo>
                  <a:lnTo>
                    <a:pt x="4511" y="1848"/>
                  </a:lnTo>
                  <a:lnTo>
                    <a:pt x="4527" y="1902"/>
                  </a:lnTo>
                  <a:lnTo>
                    <a:pt x="4539" y="1956"/>
                  </a:lnTo>
                  <a:lnTo>
                    <a:pt x="4551" y="2012"/>
                  </a:lnTo>
                  <a:lnTo>
                    <a:pt x="4563" y="2068"/>
                  </a:lnTo>
                  <a:lnTo>
                    <a:pt x="4571" y="2124"/>
                  </a:lnTo>
                  <a:lnTo>
                    <a:pt x="4579" y="2182"/>
                  </a:lnTo>
                  <a:lnTo>
                    <a:pt x="4585" y="2240"/>
                  </a:lnTo>
                  <a:lnTo>
                    <a:pt x="4589" y="2298"/>
                  </a:lnTo>
                  <a:lnTo>
                    <a:pt x="4589" y="2298"/>
                  </a:lnTo>
                  <a:close/>
                  <a:moveTo>
                    <a:pt x="1884" y="1434"/>
                  </a:moveTo>
                  <a:lnTo>
                    <a:pt x="2298" y="1434"/>
                  </a:lnTo>
                  <a:lnTo>
                    <a:pt x="2298" y="2298"/>
                  </a:lnTo>
                  <a:lnTo>
                    <a:pt x="1280" y="2298"/>
                  </a:lnTo>
                  <a:lnTo>
                    <a:pt x="1280" y="2298"/>
                  </a:lnTo>
                  <a:lnTo>
                    <a:pt x="1286" y="2184"/>
                  </a:lnTo>
                  <a:lnTo>
                    <a:pt x="1294" y="2070"/>
                  </a:lnTo>
                  <a:lnTo>
                    <a:pt x="1308" y="1960"/>
                  </a:lnTo>
                  <a:lnTo>
                    <a:pt x="1322" y="1850"/>
                  </a:lnTo>
                  <a:lnTo>
                    <a:pt x="1322" y="1850"/>
                  </a:lnTo>
                  <a:lnTo>
                    <a:pt x="1368" y="1852"/>
                  </a:lnTo>
                  <a:lnTo>
                    <a:pt x="1368" y="1852"/>
                  </a:lnTo>
                  <a:lnTo>
                    <a:pt x="1414" y="1850"/>
                  </a:lnTo>
                  <a:lnTo>
                    <a:pt x="1460" y="1844"/>
                  </a:lnTo>
                  <a:lnTo>
                    <a:pt x="1504" y="1834"/>
                  </a:lnTo>
                  <a:lnTo>
                    <a:pt x="1548" y="1820"/>
                  </a:lnTo>
                  <a:lnTo>
                    <a:pt x="1590" y="1802"/>
                  </a:lnTo>
                  <a:lnTo>
                    <a:pt x="1628" y="1782"/>
                  </a:lnTo>
                  <a:lnTo>
                    <a:pt x="1666" y="1758"/>
                  </a:lnTo>
                  <a:lnTo>
                    <a:pt x="1702" y="1732"/>
                  </a:lnTo>
                  <a:lnTo>
                    <a:pt x="1734" y="1702"/>
                  </a:lnTo>
                  <a:lnTo>
                    <a:pt x="1764" y="1670"/>
                  </a:lnTo>
                  <a:lnTo>
                    <a:pt x="1792" y="1636"/>
                  </a:lnTo>
                  <a:lnTo>
                    <a:pt x="1818" y="1600"/>
                  </a:lnTo>
                  <a:lnTo>
                    <a:pt x="1838" y="1560"/>
                  </a:lnTo>
                  <a:lnTo>
                    <a:pt x="1858" y="1520"/>
                  </a:lnTo>
                  <a:lnTo>
                    <a:pt x="1872" y="1478"/>
                  </a:lnTo>
                  <a:lnTo>
                    <a:pt x="1884" y="1434"/>
                  </a:lnTo>
                  <a:lnTo>
                    <a:pt x="1884" y="1434"/>
                  </a:lnTo>
                  <a:close/>
                  <a:moveTo>
                    <a:pt x="2298" y="2582"/>
                  </a:moveTo>
                  <a:lnTo>
                    <a:pt x="2298" y="3054"/>
                  </a:lnTo>
                  <a:lnTo>
                    <a:pt x="2298" y="3054"/>
                  </a:lnTo>
                  <a:lnTo>
                    <a:pt x="2264" y="3064"/>
                  </a:lnTo>
                  <a:lnTo>
                    <a:pt x="2230" y="3078"/>
                  </a:lnTo>
                  <a:lnTo>
                    <a:pt x="2200" y="3094"/>
                  </a:lnTo>
                  <a:lnTo>
                    <a:pt x="2168" y="3112"/>
                  </a:lnTo>
                  <a:lnTo>
                    <a:pt x="2140" y="3130"/>
                  </a:lnTo>
                  <a:lnTo>
                    <a:pt x="2112" y="3152"/>
                  </a:lnTo>
                  <a:lnTo>
                    <a:pt x="2086" y="3174"/>
                  </a:lnTo>
                  <a:lnTo>
                    <a:pt x="2062" y="3200"/>
                  </a:lnTo>
                  <a:lnTo>
                    <a:pt x="2038" y="3226"/>
                  </a:lnTo>
                  <a:lnTo>
                    <a:pt x="2018" y="3254"/>
                  </a:lnTo>
                  <a:lnTo>
                    <a:pt x="1998" y="3282"/>
                  </a:lnTo>
                  <a:lnTo>
                    <a:pt x="1980" y="3312"/>
                  </a:lnTo>
                  <a:lnTo>
                    <a:pt x="1966" y="3344"/>
                  </a:lnTo>
                  <a:lnTo>
                    <a:pt x="1952" y="3378"/>
                  </a:lnTo>
                  <a:lnTo>
                    <a:pt x="1940" y="3412"/>
                  </a:lnTo>
                  <a:lnTo>
                    <a:pt x="1932" y="3446"/>
                  </a:lnTo>
                  <a:lnTo>
                    <a:pt x="1416" y="3446"/>
                  </a:lnTo>
                  <a:lnTo>
                    <a:pt x="1416" y="3446"/>
                  </a:lnTo>
                  <a:lnTo>
                    <a:pt x="1388" y="3346"/>
                  </a:lnTo>
                  <a:lnTo>
                    <a:pt x="1364" y="3244"/>
                  </a:lnTo>
                  <a:lnTo>
                    <a:pt x="1342" y="3138"/>
                  </a:lnTo>
                  <a:lnTo>
                    <a:pt x="1324" y="3032"/>
                  </a:lnTo>
                  <a:lnTo>
                    <a:pt x="1308" y="2922"/>
                  </a:lnTo>
                  <a:lnTo>
                    <a:pt x="1296" y="2810"/>
                  </a:lnTo>
                  <a:lnTo>
                    <a:pt x="1286" y="2698"/>
                  </a:lnTo>
                  <a:lnTo>
                    <a:pt x="1280" y="2582"/>
                  </a:lnTo>
                  <a:lnTo>
                    <a:pt x="2298" y="2582"/>
                  </a:lnTo>
                  <a:close/>
                  <a:moveTo>
                    <a:pt x="2447" y="3802"/>
                  </a:moveTo>
                  <a:lnTo>
                    <a:pt x="2447" y="3802"/>
                  </a:lnTo>
                  <a:lnTo>
                    <a:pt x="2422" y="3802"/>
                  </a:lnTo>
                  <a:lnTo>
                    <a:pt x="2398" y="3798"/>
                  </a:lnTo>
                  <a:lnTo>
                    <a:pt x="2374" y="3792"/>
                  </a:lnTo>
                  <a:lnTo>
                    <a:pt x="2352" y="3784"/>
                  </a:lnTo>
                  <a:lnTo>
                    <a:pt x="2332" y="3774"/>
                  </a:lnTo>
                  <a:lnTo>
                    <a:pt x="2312" y="3760"/>
                  </a:lnTo>
                  <a:lnTo>
                    <a:pt x="2292" y="3746"/>
                  </a:lnTo>
                  <a:lnTo>
                    <a:pt x="2276" y="3732"/>
                  </a:lnTo>
                  <a:lnTo>
                    <a:pt x="2260" y="3714"/>
                  </a:lnTo>
                  <a:lnTo>
                    <a:pt x="2246" y="3696"/>
                  </a:lnTo>
                  <a:lnTo>
                    <a:pt x="2234" y="3676"/>
                  </a:lnTo>
                  <a:lnTo>
                    <a:pt x="2222" y="3654"/>
                  </a:lnTo>
                  <a:lnTo>
                    <a:pt x="2214" y="3632"/>
                  </a:lnTo>
                  <a:lnTo>
                    <a:pt x="2208" y="3608"/>
                  </a:lnTo>
                  <a:lnTo>
                    <a:pt x="2206" y="3584"/>
                  </a:lnTo>
                  <a:lnTo>
                    <a:pt x="2204" y="3560"/>
                  </a:lnTo>
                  <a:lnTo>
                    <a:pt x="2204" y="3560"/>
                  </a:lnTo>
                  <a:lnTo>
                    <a:pt x="2206" y="3534"/>
                  </a:lnTo>
                  <a:lnTo>
                    <a:pt x="2208" y="3510"/>
                  </a:lnTo>
                  <a:lnTo>
                    <a:pt x="2214" y="3488"/>
                  </a:lnTo>
                  <a:lnTo>
                    <a:pt x="2222" y="3464"/>
                  </a:lnTo>
                  <a:lnTo>
                    <a:pt x="2234" y="3444"/>
                  </a:lnTo>
                  <a:lnTo>
                    <a:pt x="2246" y="3424"/>
                  </a:lnTo>
                  <a:lnTo>
                    <a:pt x="2260" y="3404"/>
                  </a:lnTo>
                  <a:lnTo>
                    <a:pt x="2276" y="3388"/>
                  </a:lnTo>
                  <a:lnTo>
                    <a:pt x="2292" y="3372"/>
                  </a:lnTo>
                  <a:lnTo>
                    <a:pt x="2312" y="3358"/>
                  </a:lnTo>
                  <a:lnTo>
                    <a:pt x="2332" y="3346"/>
                  </a:lnTo>
                  <a:lnTo>
                    <a:pt x="2352" y="3336"/>
                  </a:lnTo>
                  <a:lnTo>
                    <a:pt x="2374" y="3328"/>
                  </a:lnTo>
                  <a:lnTo>
                    <a:pt x="2398" y="3322"/>
                  </a:lnTo>
                  <a:lnTo>
                    <a:pt x="2422" y="3318"/>
                  </a:lnTo>
                  <a:lnTo>
                    <a:pt x="2447" y="3316"/>
                  </a:lnTo>
                  <a:lnTo>
                    <a:pt x="2447" y="3316"/>
                  </a:lnTo>
                  <a:lnTo>
                    <a:pt x="2473" y="3318"/>
                  </a:lnTo>
                  <a:lnTo>
                    <a:pt x="2497" y="3322"/>
                  </a:lnTo>
                  <a:lnTo>
                    <a:pt x="2521" y="3328"/>
                  </a:lnTo>
                  <a:lnTo>
                    <a:pt x="2543" y="3336"/>
                  </a:lnTo>
                  <a:lnTo>
                    <a:pt x="2563" y="3346"/>
                  </a:lnTo>
                  <a:lnTo>
                    <a:pt x="2583" y="3358"/>
                  </a:lnTo>
                  <a:lnTo>
                    <a:pt x="2603" y="3372"/>
                  </a:lnTo>
                  <a:lnTo>
                    <a:pt x="2619" y="3388"/>
                  </a:lnTo>
                  <a:lnTo>
                    <a:pt x="2635" y="3404"/>
                  </a:lnTo>
                  <a:lnTo>
                    <a:pt x="2649" y="3424"/>
                  </a:lnTo>
                  <a:lnTo>
                    <a:pt x="2661" y="3444"/>
                  </a:lnTo>
                  <a:lnTo>
                    <a:pt x="2673" y="3464"/>
                  </a:lnTo>
                  <a:lnTo>
                    <a:pt x="2681" y="3488"/>
                  </a:lnTo>
                  <a:lnTo>
                    <a:pt x="2687" y="3510"/>
                  </a:lnTo>
                  <a:lnTo>
                    <a:pt x="2689" y="3534"/>
                  </a:lnTo>
                  <a:lnTo>
                    <a:pt x="2691" y="3560"/>
                  </a:lnTo>
                  <a:lnTo>
                    <a:pt x="2691" y="3560"/>
                  </a:lnTo>
                  <a:lnTo>
                    <a:pt x="2689" y="3584"/>
                  </a:lnTo>
                  <a:lnTo>
                    <a:pt x="2687" y="3608"/>
                  </a:lnTo>
                  <a:lnTo>
                    <a:pt x="2681" y="3632"/>
                  </a:lnTo>
                  <a:lnTo>
                    <a:pt x="2673" y="3654"/>
                  </a:lnTo>
                  <a:lnTo>
                    <a:pt x="2661" y="3676"/>
                  </a:lnTo>
                  <a:lnTo>
                    <a:pt x="2649" y="3696"/>
                  </a:lnTo>
                  <a:lnTo>
                    <a:pt x="2635" y="3714"/>
                  </a:lnTo>
                  <a:lnTo>
                    <a:pt x="2619" y="3732"/>
                  </a:lnTo>
                  <a:lnTo>
                    <a:pt x="2603" y="3746"/>
                  </a:lnTo>
                  <a:lnTo>
                    <a:pt x="2583" y="3760"/>
                  </a:lnTo>
                  <a:lnTo>
                    <a:pt x="2563" y="3774"/>
                  </a:lnTo>
                  <a:lnTo>
                    <a:pt x="2543" y="3784"/>
                  </a:lnTo>
                  <a:lnTo>
                    <a:pt x="2521" y="3792"/>
                  </a:lnTo>
                  <a:lnTo>
                    <a:pt x="2497" y="3798"/>
                  </a:lnTo>
                  <a:lnTo>
                    <a:pt x="2473" y="3802"/>
                  </a:lnTo>
                  <a:lnTo>
                    <a:pt x="2447" y="3802"/>
                  </a:lnTo>
                  <a:lnTo>
                    <a:pt x="2447" y="3802"/>
                  </a:lnTo>
                  <a:close/>
                  <a:moveTo>
                    <a:pt x="1948" y="3730"/>
                  </a:moveTo>
                  <a:lnTo>
                    <a:pt x="1948" y="3730"/>
                  </a:lnTo>
                  <a:lnTo>
                    <a:pt x="1960" y="3760"/>
                  </a:lnTo>
                  <a:lnTo>
                    <a:pt x="1972" y="3788"/>
                  </a:lnTo>
                  <a:lnTo>
                    <a:pt x="1988" y="3816"/>
                  </a:lnTo>
                  <a:lnTo>
                    <a:pt x="2004" y="3844"/>
                  </a:lnTo>
                  <a:lnTo>
                    <a:pt x="2020" y="3870"/>
                  </a:lnTo>
                  <a:lnTo>
                    <a:pt x="2040" y="3894"/>
                  </a:lnTo>
                  <a:lnTo>
                    <a:pt x="2060" y="3918"/>
                  </a:lnTo>
                  <a:lnTo>
                    <a:pt x="2082" y="3940"/>
                  </a:lnTo>
                  <a:lnTo>
                    <a:pt x="2106" y="3960"/>
                  </a:lnTo>
                  <a:lnTo>
                    <a:pt x="2130" y="3980"/>
                  </a:lnTo>
                  <a:lnTo>
                    <a:pt x="2156" y="3998"/>
                  </a:lnTo>
                  <a:lnTo>
                    <a:pt x="2182" y="4014"/>
                  </a:lnTo>
                  <a:lnTo>
                    <a:pt x="2210" y="4030"/>
                  </a:lnTo>
                  <a:lnTo>
                    <a:pt x="2238" y="4044"/>
                  </a:lnTo>
                  <a:lnTo>
                    <a:pt x="2268" y="4056"/>
                  </a:lnTo>
                  <a:lnTo>
                    <a:pt x="2298" y="4066"/>
                  </a:lnTo>
                  <a:lnTo>
                    <a:pt x="2298" y="4576"/>
                  </a:lnTo>
                  <a:lnTo>
                    <a:pt x="2298" y="4576"/>
                  </a:lnTo>
                  <a:lnTo>
                    <a:pt x="2268" y="4570"/>
                  </a:lnTo>
                  <a:lnTo>
                    <a:pt x="2238" y="4560"/>
                  </a:lnTo>
                  <a:lnTo>
                    <a:pt x="2210" y="4550"/>
                  </a:lnTo>
                  <a:lnTo>
                    <a:pt x="2182" y="4538"/>
                  </a:lnTo>
                  <a:lnTo>
                    <a:pt x="2152" y="4524"/>
                  </a:lnTo>
                  <a:lnTo>
                    <a:pt x="2124" y="4510"/>
                  </a:lnTo>
                  <a:lnTo>
                    <a:pt x="2096" y="4494"/>
                  </a:lnTo>
                  <a:lnTo>
                    <a:pt x="2068" y="4476"/>
                  </a:lnTo>
                  <a:lnTo>
                    <a:pt x="2014" y="4438"/>
                  </a:lnTo>
                  <a:lnTo>
                    <a:pt x="1962" y="4396"/>
                  </a:lnTo>
                  <a:lnTo>
                    <a:pt x="1910" y="4348"/>
                  </a:lnTo>
                  <a:lnTo>
                    <a:pt x="1858" y="4296"/>
                  </a:lnTo>
                  <a:lnTo>
                    <a:pt x="1810" y="4238"/>
                  </a:lnTo>
                  <a:lnTo>
                    <a:pt x="1762" y="4178"/>
                  </a:lnTo>
                  <a:lnTo>
                    <a:pt x="1716" y="4112"/>
                  </a:lnTo>
                  <a:lnTo>
                    <a:pt x="1672" y="4044"/>
                  </a:lnTo>
                  <a:lnTo>
                    <a:pt x="1630" y="3970"/>
                  </a:lnTo>
                  <a:lnTo>
                    <a:pt x="1590" y="3894"/>
                  </a:lnTo>
                  <a:lnTo>
                    <a:pt x="1552" y="3814"/>
                  </a:lnTo>
                  <a:lnTo>
                    <a:pt x="1516" y="3730"/>
                  </a:lnTo>
                  <a:lnTo>
                    <a:pt x="1948" y="3730"/>
                  </a:lnTo>
                  <a:close/>
                  <a:moveTo>
                    <a:pt x="2583" y="4576"/>
                  </a:moveTo>
                  <a:lnTo>
                    <a:pt x="2583" y="4068"/>
                  </a:lnTo>
                  <a:lnTo>
                    <a:pt x="2583" y="4068"/>
                  </a:lnTo>
                  <a:lnTo>
                    <a:pt x="2615" y="4060"/>
                  </a:lnTo>
                  <a:lnTo>
                    <a:pt x="2645" y="4048"/>
                  </a:lnTo>
                  <a:lnTo>
                    <a:pt x="2675" y="4036"/>
                  </a:lnTo>
                  <a:lnTo>
                    <a:pt x="2703" y="4020"/>
                  </a:lnTo>
                  <a:lnTo>
                    <a:pt x="2731" y="4004"/>
                  </a:lnTo>
                  <a:lnTo>
                    <a:pt x="2757" y="3986"/>
                  </a:lnTo>
                  <a:lnTo>
                    <a:pt x="2783" y="3966"/>
                  </a:lnTo>
                  <a:lnTo>
                    <a:pt x="2807" y="3944"/>
                  </a:lnTo>
                  <a:lnTo>
                    <a:pt x="2831" y="3922"/>
                  </a:lnTo>
                  <a:lnTo>
                    <a:pt x="2851" y="3898"/>
                  </a:lnTo>
                  <a:lnTo>
                    <a:pt x="2871" y="3874"/>
                  </a:lnTo>
                  <a:lnTo>
                    <a:pt x="2889" y="3846"/>
                  </a:lnTo>
                  <a:lnTo>
                    <a:pt x="2907" y="3820"/>
                  </a:lnTo>
                  <a:lnTo>
                    <a:pt x="2921" y="3790"/>
                  </a:lnTo>
                  <a:lnTo>
                    <a:pt x="2935" y="3762"/>
                  </a:lnTo>
                  <a:lnTo>
                    <a:pt x="2947" y="3730"/>
                  </a:lnTo>
                  <a:lnTo>
                    <a:pt x="3365" y="3730"/>
                  </a:lnTo>
                  <a:lnTo>
                    <a:pt x="3365" y="3730"/>
                  </a:lnTo>
                  <a:lnTo>
                    <a:pt x="3329" y="3814"/>
                  </a:lnTo>
                  <a:lnTo>
                    <a:pt x="3289" y="3894"/>
                  </a:lnTo>
                  <a:lnTo>
                    <a:pt x="3249" y="3972"/>
                  </a:lnTo>
                  <a:lnTo>
                    <a:pt x="3207" y="4044"/>
                  </a:lnTo>
                  <a:lnTo>
                    <a:pt x="3163" y="4114"/>
                  </a:lnTo>
                  <a:lnTo>
                    <a:pt x="3117" y="4178"/>
                  </a:lnTo>
                  <a:lnTo>
                    <a:pt x="3069" y="4238"/>
                  </a:lnTo>
                  <a:lnTo>
                    <a:pt x="3019" y="4296"/>
                  </a:lnTo>
                  <a:lnTo>
                    <a:pt x="2969" y="4348"/>
                  </a:lnTo>
                  <a:lnTo>
                    <a:pt x="2917" y="4394"/>
                  </a:lnTo>
                  <a:lnTo>
                    <a:pt x="2863" y="4438"/>
                  </a:lnTo>
                  <a:lnTo>
                    <a:pt x="2809" y="4476"/>
                  </a:lnTo>
                  <a:lnTo>
                    <a:pt x="2783" y="4492"/>
                  </a:lnTo>
                  <a:lnTo>
                    <a:pt x="2755" y="4508"/>
                  </a:lnTo>
                  <a:lnTo>
                    <a:pt x="2727" y="4522"/>
                  </a:lnTo>
                  <a:lnTo>
                    <a:pt x="2697" y="4536"/>
                  </a:lnTo>
                  <a:lnTo>
                    <a:pt x="2669" y="4548"/>
                  </a:lnTo>
                  <a:lnTo>
                    <a:pt x="2641" y="4558"/>
                  </a:lnTo>
                  <a:lnTo>
                    <a:pt x="2611" y="4568"/>
                  </a:lnTo>
                  <a:lnTo>
                    <a:pt x="2583" y="4576"/>
                  </a:lnTo>
                  <a:lnTo>
                    <a:pt x="2583" y="4576"/>
                  </a:lnTo>
                  <a:close/>
                  <a:moveTo>
                    <a:pt x="2963" y="3446"/>
                  </a:moveTo>
                  <a:lnTo>
                    <a:pt x="2963" y="3446"/>
                  </a:lnTo>
                  <a:lnTo>
                    <a:pt x="2953" y="3410"/>
                  </a:lnTo>
                  <a:lnTo>
                    <a:pt x="2943" y="3376"/>
                  </a:lnTo>
                  <a:lnTo>
                    <a:pt x="2929" y="3342"/>
                  </a:lnTo>
                  <a:lnTo>
                    <a:pt x="2913" y="3310"/>
                  </a:lnTo>
                  <a:lnTo>
                    <a:pt x="2895" y="3278"/>
                  </a:lnTo>
                  <a:lnTo>
                    <a:pt x="2875" y="3250"/>
                  </a:lnTo>
                  <a:lnTo>
                    <a:pt x="2853" y="3220"/>
                  </a:lnTo>
                  <a:lnTo>
                    <a:pt x="2829" y="3194"/>
                  </a:lnTo>
                  <a:lnTo>
                    <a:pt x="2803" y="3170"/>
                  </a:lnTo>
                  <a:lnTo>
                    <a:pt x="2775" y="3146"/>
                  </a:lnTo>
                  <a:lnTo>
                    <a:pt x="2747" y="3126"/>
                  </a:lnTo>
                  <a:lnTo>
                    <a:pt x="2717" y="3106"/>
                  </a:lnTo>
                  <a:lnTo>
                    <a:pt x="2685" y="3088"/>
                  </a:lnTo>
                  <a:lnTo>
                    <a:pt x="2651" y="3074"/>
                  </a:lnTo>
                  <a:lnTo>
                    <a:pt x="2617" y="3060"/>
                  </a:lnTo>
                  <a:lnTo>
                    <a:pt x="2583" y="3050"/>
                  </a:lnTo>
                  <a:lnTo>
                    <a:pt x="2583" y="2582"/>
                  </a:lnTo>
                  <a:lnTo>
                    <a:pt x="3241" y="2582"/>
                  </a:lnTo>
                  <a:lnTo>
                    <a:pt x="3241" y="2582"/>
                  </a:lnTo>
                  <a:lnTo>
                    <a:pt x="3249" y="2616"/>
                  </a:lnTo>
                  <a:lnTo>
                    <a:pt x="3259" y="2648"/>
                  </a:lnTo>
                  <a:lnTo>
                    <a:pt x="3269" y="2678"/>
                  </a:lnTo>
                  <a:lnTo>
                    <a:pt x="3283" y="2708"/>
                  </a:lnTo>
                  <a:lnTo>
                    <a:pt x="3299" y="2738"/>
                  </a:lnTo>
                  <a:lnTo>
                    <a:pt x="3315" y="2766"/>
                  </a:lnTo>
                  <a:lnTo>
                    <a:pt x="3335" y="2794"/>
                  </a:lnTo>
                  <a:lnTo>
                    <a:pt x="3355" y="2818"/>
                  </a:lnTo>
                  <a:lnTo>
                    <a:pt x="3377" y="2844"/>
                  </a:lnTo>
                  <a:lnTo>
                    <a:pt x="3399" y="2866"/>
                  </a:lnTo>
                  <a:lnTo>
                    <a:pt x="3425" y="2888"/>
                  </a:lnTo>
                  <a:lnTo>
                    <a:pt x="3451" y="2908"/>
                  </a:lnTo>
                  <a:lnTo>
                    <a:pt x="3477" y="2926"/>
                  </a:lnTo>
                  <a:lnTo>
                    <a:pt x="3505" y="2942"/>
                  </a:lnTo>
                  <a:lnTo>
                    <a:pt x="3535" y="2958"/>
                  </a:lnTo>
                  <a:lnTo>
                    <a:pt x="3565" y="2970"/>
                  </a:lnTo>
                  <a:lnTo>
                    <a:pt x="3565" y="2970"/>
                  </a:lnTo>
                  <a:lnTo>
                    <a:pt x="3547" y="3094"/>
                  </a:lnTo>
                  <a:lnTo>
                    <a:pt x="3523" y="3216"/>
                  </a:lnTo>
                  <a:lnTo>
                    <a:pt x="3495" y="3332"/>
                  </a:lnTo>
                  <a:lnTo>
                    <a:pt x="3465" y="3446"/>
                  </a:lnTo>
                  <a:lnTo>
                    <a:pt x="2963" y="3446"/>
                  </a:lnTo>
                  <a:close/>
                  <a:moveTo>
                    <a:pt x="3759" y="2236"/>
                  </a:moveTo>
                  <a:lnTo>
                    <a:pt x="3759" y="2236"/>
                  </a:lnTo>
                  <a:lnTo>
                    <a:pt x="3783" y="2238"/>
                  </a:lnTo>
                  <a:lnTo>
                    <a:pt x="3807" y="2242"/>
                  </a:lnTo>
                  <a:lnTo>
                    <a:pt x="3831" y="2248"/>
                  </a:lnTo>
                  <a:lnTo>
                    <a:pt x="3853" y="2256"/>
                  </a:lnTo>
                  <a:lnTo>
                    <a:pt x="3875" y="2266"/>
                  </a:lnTo>
                  <a:lnTo>
                    <a:pt x="3895" y="2278"/>
                  </a:lnTo>
                  <a:lnTo>
                    <a:pt x="3913" y="2292"/>
                  </a:lnTo>
                  <a:lnTo>
                    <a:pt x="3931" y="2308"/>
                  </a:lnTo>
                  <a:lnTo>
                    <a:pt x="3947" y="2326"/>
                  </a:lnTo>
                  <a:lnTo>
                    <a:pt x="3961" y="2344"/>
                  </a:lnTo>
                  <a:lnTo>
                    <a:pt x="3973" y="2364"/>
                  </a:lnTo>
                  <a:lnTo>
                    <a:pt x="3983" y="2386"/>
                  </a:lnTo>
                  <a:lnTo>
                    <a:pt x="3991" y="2408"/>
                  </a:lnTo>
                  <a:lnTo>
                    <a:pt x="3997" y="2432"/>
                  </a:lnTo>
                  <a:lnTo>
                    <a:pt x="4001" y="2456"/>
                  </a:lnTo>
                  <a:lnTo>
                    <a:pt x="4001" y="2480"/>
                  </a:lnTo>
                  <a:lnTo>
                    <a:pt x="4001" y="2480"/>
                  </a:lnTo>
                  <a:lnTo>
                    <a:pt x="4001" y="2504"/>
                  </a:lnTo>
                  <a:lnTo>
                    <a:pt x="3997" y="2528"/>
                  </a:lnTo>
                  <a:lnTo>
                    <a:pt x="3991" y="2552"/>
                  </a:lnTo>
                  <a:lnTo>
                    <a:pt x="3983" y="2574"/>
                  </a:lnTo>
                  <a:lnTo>
                    <a:pt x="3973" y="2596"/>
                  </a:lnTo>
                  <a:lnTo>
                    <a:pt x="3961" y="2616"/>
                  </a:lnTo>
                  <a:lnTo>
                    <a:pt x="3947" y="2634"/>
                  </a:lnTo>
                  <a:lnTo>
                    <a:pt x="3931" y="2652"/>
                  </a:lnTo>
                  <a:lnTo>
                    <a:pt x="3913" y="2668"/>
                  </a:lnTo>
                  <a:lnTo>
                    <a:pt x="3895" y="2682"/>
                  </a:lnTo>
                  <a:lnTo>
                    <a:pt x="3875" y="2694"/>
                  </a:lnTo>
                  <a:lnTo>
                    <a:pt x="3853" y="2704"/>
                  </a:lnTo>
                  <a:lnTo>
                    <a:pt x="3831" y="2712"/>
                  </a:lnTo>
                  <a:lnTo>
                    <a:pt x="3807" y="2718"/>
                  </a:lnTo>
                  <a:lnTo>
                    <a:pt x="3783" y="2722"/>
                  </a:lnTo>
                  <a:lnTo>
                    <a:pt x="3759" y="2724"/>
                  </a:lnTo>
                  <a:lnTo>
                    <a:pt x="3759" y="2724"/>
                  </a:lnTo>
                  <a:lnTo>
                    <a:pt x="3733" y="2722"/>
                  </a:lnTo>
                  <a:lnTo>
                    <a:pt x="3709" y="2718"/>
                  </a:lnTo>
                  <a:lnTo>
                    <a:pt x="3687" y="2712"/>
                  </a:lnTo>
                  <a:lnTo>
                    <a:pt x="3663" y="2704"/>
                  </a:lnTo>
                  <a:lnTo>
                    <a:pt x="3643" y="2694"/>
                  </a:lnTo>
                  <a:lnTo>
                    <a:pt x="3623" y="2682"/>
                  </a:lnTo>
                  <a:lnTo>
                    <a:pt x="3603" y="2668"/>
                  </a:lnTo>
                  <a:lnTo>
                    <a:pt x="3587" y="2652"/>
                  </a:lnTo>
                  <a:lnTo>
                    <a:pt x="3571" y="2634"/>
                  </a:lnTo>
                  <a:lnTo>
                    <a:pt x="3557" y="2616"/>
                  </a:lnTo>
                  <a:lnTo>
                    <a:pt x="3545" y="2596"/>
                  </a:lnTo>
                  <a:lnTo>
                    <a:pt x="3535" y="2574"/>
                  </a:lnTo>
                  <a:lnTo>
                    <a:pt x="3527" y="2552"/>
                  </a:lnTo>
                  <a:lnTo>
                    <a:pt x="3521" y="2528"/>
                  </a:lnTo>
                  <a:lnTo>
                    <a:pt x="3517" y="2504"/>
                  </a:lnTo>
                  <a:lnTo>
                    <a:pt x="3515" y="2480"/>
                  </a:lnTo>
                  <a:lnTo>
                    <a:pt x="3515" y="2480"/>
                  </a:lnTo>
                  <a:lnTo>
                    <a:pt x="3517" y="2456"/>
                  </a:lnTo>
                  <a:lnTo>
                    <a:pt x="3521" y="2432"/>
                  </a:lnTo>
                  <a:lnTo>
                    <a:pt x="3527" y="2408"/>
                  </a:lnTo>
                  <a:lnTo>
                    <a:pt x="3535" y="2386"/>
                  </a:lnTo>
                  <a:lnTo>
                    <a:pt x="3545" y="2364"/>
                  </a:lnTo>
                  <a:lnTo>
                    <a:pt x="3557" y="2344"/>
                  </a:lnTo>
                  <a:lnTo>
                    <a:pt x="3571" y="2326"/>
                  </a:lnTo>
                  <a:lnTo>
                    <a:pt x="3587" y="2308"/>
                  </a:lnTo>
                  <a:lnTo>
                    <a:pt x="3603" y="2292"/>
                  </a:lnTo>
                  <a:lnTo>
                    <a:pt x="3623" y="2278"/>
                  </a:lnTo>
                  <a:lnTo>
                    <a:pt x="3643" y="2266"/>
                  </a:lnTo>
                  <a:lnTo>
                    <a:pt x="3663" y="2256"/>
                  </a:lnTo>
                  <a:lnTo>
                    <a:pt x="3687" y="2248"/>
                  </a:lnTo>
                  <a:lnTo>
                    <a:pt x="3709" y="2242"/>
                  </a:lnTo>
                  <a:lnTo>
                    <a:pt x="3733" y="2238"/>
                  </a:lnTo>
                  <a:lnTo>
                    <a:pt x="3759" y="2236"/>
                  </a:lnTo>
                  <a:lnTo>
                    <a:pt x="3759" y="2236"/>
                  </a:lnTo>
                  <a:close/>
                  <a:moveTo>
                    <a:pt x="3851" y="3000"/>
                  </a:moveTo>
                  <a:lnTo>
                    <a:pt x="3851" y="3000"/>
                  </a:lnTo>
                  <a:lnTo>
                    <a:pt x="3889" y="2990"/>
                  </a:lnTo>
                  <a:lnTo>
                    <a:pt x="3929" y="2980"/>
                  </a:lnTo>
                  <a:lnTo>
                    <a:pt x="3965" y="2964"/>
                  </a:lnTo>
                  <a:lnTo>
                    <a:pt x="4001" y="2948"/>
                  </a:lnTo>
                  <a:lnTo>
                    <a:pt x="4035" y="2928"/>
                  </a:lnTo>
                  <a:lnTo>
                    <a:pt x="4069" y="2906"/>
                  </a:lnTo>
                  <a:lnTo>
                    <a:pt x="4099" y="2882"/>
                  </a:lnTo>
                  <a:lnTo>
                    <a:pt x="4127" y="2856"/>
                  </a:lnTo>
                  <a:lnTo>
                    <a:pt x="4155" y="2828"/>
                  </a:lnTo>
                  <a:lnTo>
                    <a:pt x="4179" y="2798"/>
                  </a:lnTo>
                  <a:lnTo>
                    <a:pt x="4201" y="2766"/>
                  </a:lnTo>
                  <a:lnTo>
                    <a:pt x="4223" y="2732"/>
                  </a:lnTo>
                  <a:lnTo>
                    <a:pt x="4239" y="2696"/>
                  </a:lnTo>
                  <a:lnTo>
                    <a:pt x="4255" y="2660"/>
                  </a:lnTo>
                  <a:lnTo>
                    <a:pt x="4267" y="2622"/>
                  </a:lnTo>
                  <a:lnTo>
                    <a:pt x="4277" y="2582"/>
                  </a:lnTo>
                  <a:lnTo>
                    <a:pt x="4589" y="2582"/>
                  </a:lnTo>
                  <a:lnTo>
                    <a:pt x="4589" y="2582"/>
                  </a:lnTo>
                  <a:lnTo>
                    <a:pt x="4585" y="2640"/>
                  </a:lnTo>
                  <a:lnTo>
                    <a:pt x="4579" y="2698"/>
                  </a:lnTo>
                  <a:lnTo>
                    <a:pt x="4571" y="2754"/>
                  </a:lnTo>
                  <a:lnTo>
                    <a:pt x="4563" y="2812"/>
                  </a:lnTo>
                  <a:lnTo>
                    <a:pt x="4551" y="2868"/>
                  </a:lnTo>
                  <a:lnTo>
                    <a:pt x="4539" y="2924"/>
                  </a:lnTo>
                  <a:lnTo>
                    <a:pt x="4527" y="2978"/>
                  </a:lnTo>
                  <a:lnTo>
                    <a:pt x="4511" y="3032"/>
                  </a:lnTo>
                  <a:lnTo>
                    <a:pt x="4495" y="3086"/>
                  </a:lnTo>
                  <a:lnTo>
                    <a:pt x="4477" y="3140"/>
                  </a:lnTo>
                  <a:lnTo>
                    <a:pt x="4459" y="3192"/>
                  </a:lnTo>
                  <a:lnTo>
                    <a:pt x="4439" y="3244"/>
                  </a:lnTo>
                  <a:lnTo>
                    <a:pt x="4417" y="3296"/>
                  </a:lnTo>
                  <a:lnTo>
                    <a:pt x="4395" y="3346"/>
                  </a:lnTo>
                  <a:lnTo>
                    <a:pt x="4371" y="3396"/>
                  </a:lnTo>
                  <a:lnTo>
                    <a:pt x="4345" y="3446"/>
                  </a:lnTo>
                  <a:lnTo>
                    <a:pt x="3761" y="3446"/>
                  </a:lnTo>
                  <a:lnTo>
                    <a:pt x="3761" y="3446"/>
                  </a:lnTo>
                  <a:lnTo>
                    <a:pt x="3787" y="3338"/>
                  </a:lnTo>
                  <a:lnTo>
                    <a:pt x="3811" y="3228"/>
                  </a:lnTo>
                  <a:lnTo>
                    <a:pt x="3833" y="3114"/>
                  </a:lnTo>
                  <a:lnTo>
                    <a:pt x="3851" y="3000"/>
                  </a:lnTo>
                  <a:lnTo>
                    <a:pt x="3851" y="3000"/>
                  </a:lnTo>
                  <a:close/>
                  <a:moveTo>
                    <a:pt x="3577" y="1986"/>
                  </a:moveTo>
                  <a:lnTo>
                    <a:pt x="3577" y="1986"/>
                  </a:lnTo>
                  <a:lnTo>
                    <a:pt x="3549" y="1996"/>
                  </a:lnTo>
                  <a:lnTo>
                    <a:pt x="3523" y="2008"/>
                  </a:lnTo>
                  <a:lnTo>
                    <a:pt x="3499" y="2022"/>
                  </a:lnTo>
                  <a:lnTo>
                    <a:pt x="3475" y="2036"/>
                  </a:lnTo>
                  <a:lnTo>
                    <a:pt x="3451" y="2052"/>
                  </a:lnTo>
                  <a:lnTo>
                    <a:pt x="3429" y="2070"/>
                  </a:lnTo>
                  <a:lnTo>
                    <a:pt x="3407" y="2088"/>
                  </a:lnTo>
                  <a:lnTo>
                    <a:pt x="3387" y="2108"/>
                  </a:lnTo>
                  <a:lnTo>
                    <a:pt x="3367" y="2128"/>
                  </a:lnTo>
                  <a:lnTo>
                    <a:pt x="3349" y="2150"/>
                  </a:lnTo>
                  <a:lnTo>
                    <a:pt x="3331" y="2172"/>
                  </a:lnTo>
                  <a:lnTo>
                    <a:pt x="3315" y="2196"/>
                  </a:lnTo>
                  <a:lnTo>
                    <a:pt x="3301" y="2220"/>
                  </a:lnTo>
                  <a:lnTo>
                    <a:pt x="3287" y="2244"/>
                  </a:lnTo>
                  <a:lnTo>
                    <a:pt x="3275" y="2270"/>
                  </a:lnTo>
                  <a:lnTo>
                    <a:pt x="3263" y="2298"/>
                  </a:lnTo>
                  <a:lnTo>
                    <a:pt x="2583" y="2298"/>
                  </a:lnTo>
                  <a:lnTo>
                    <a:pt x="2583" y="1434"/>
                  </a:lnTo>
                  <a:lnTo>
                    <a:pt x="3467" y="1434"/>
                  </a:lnTo>
                  <a:lnTo>
                    <a:pt x="3467" y="1434"/>
                  </a:lnTo>
                  <a:lnTo>
                    <a:pt x="3485" y="1498"/>
                  </a:lnTo>
                  <a:lnTo>
                    <a:pt x="3501" y="1564"/>
                  </a:lnTo>
                  <a:lnTo>
                    <a:pt x="3517" y="1632"/>
                  </a:lnTo>
                  <a:lnTo>
                    <a:pt x="3531" y="1700"/>
                  </a:lnTo>
                  <a:lnTo>
                    <a:pt x="3545" y="1770"/>
                  </a:lnTo>
                  <a:lnTo>
                    <a:pt x="3557" y="1840"/>
                  </a:lnTo>
                  <a:lnTo>
                    <a:pt x="3567" y="1912"/>
                  </a:lnTo>
                  <a:lnTo>
                    <a:pt x="3577" y="1986"/>
                  </a:lnTo>
                  <a:lnTo>
                    <a:pt x="3577" y="1986"/>
                  </a:lnTo>
                  <a:close/>
                  <a:moveTo>
                    <a:pt x="2583" y="1150"/>
                  </a:moveTo>
                  <a:lnTo>
                    <a:pt x="2583" y="302"/>
                  </a:lnTo>
                  <a:lnTo>
                    <a:pt x="2583" y="302"/>
                  </a:lnTo>
                  <a:lnTo>
                    <a:pt x="2613" y="310"/>
                  </a:lnTo>
                  <a:lnTo>
                    <a:pt x="2641" y="320"/>
                  </a:lnTo>
                  <a:lnTo>
                    <a:pt x="2671" y="330"/>
                  </a:lnTo>
                  <a:lnTo>
                    <a:pt x="2699" y="342"/>
                  </a:lnTo>
                  <a:lnTo>
                    <a:pt x="2727" y="354"/>
                  </a:lnTo>
                  <a:lnTo>
                    <a:pt x="2757" y="368"/>
                  </a:lnTo>
                  <a:lnTo>
                    <a:pt x="2785" y="384"/>
                  </a:lnTo>
                  <a:lnTo>
                    <a:pt x="2813" y="402"/>
                  </a:lnTo>
                  <a:lnTo>
                    <a:pt x="2867" y="440"/>
                  </a:lnTo>
                  <a:lnTo>
                    <a:pt x="2921" y="482"/>
                  </a:lnTo>
                  <a:lnTo>
                    <a:pt x="2973" y="530"/>
                  </a:lnTo>
                  <a:lnTo>
                    <a:pt x="3023" y="582"/>
                  </a:lnTo>
                  <a:lnTo>
                    <a:pt x="3073" y="638"/>
                  </a:lnTo>
                  <a:lnTo>
                    <a:pt x="3121" y="700"/>
                  </a:lnTo>
                  <a:lnTo>
                    <a:pt x="3167" y="764"/>
                  </a:lnTo>
                  <a:lnTo>
                    <a:pt x="3211" y="834"/>
                  </a:lnTo>
                  <a:lnTo>
                    <a:pt x="3253" y="908"/>
                  </a:lnTo>
                  <a:lnTo>
                    <a:pt x="3293" y="984"/>
                  </a:lnTo>
                  <a:lnTo>
                    <a:pt x="3331" y="1064"/>
                  </a:lnTo>
                  <a:lnTo>
                    <a:pt x="3367" y="1150"/>
                  </a:lnTo>
                  <a:lnTo>
                    <a:pt x="2583" y="1150"/>
                  </a:lnTo>
                  <a:close/>
                  <a:moveTo>
                    <a:pt x="2298" y="302"/>
                  </a:moveTo>
                  <a:lnTo>
                    <a:pt x="2298" y="1150"/>
                  </a:lnTo>
                  <a:lnTo>
                    <a:pt x="1866" y="1150"/>
                  </a:lnTo>
                  <a:lnTo>
                    <a:pt x="1866" y="1150"/>
                  </a:lnTo>
                  <a:lnTo>
                    <a:pt x="1848" y="1108"/>
                  </a:lnTo>
                  <a:lnTo>
                    <a:pt x="1828" y="1068"/>
                  </a:lnTo>
                  <a:lnTo>
                    <a:pt x="1804" y="1030"/>
                  </a:lnTo>
                  <a:lnTo>
                    <a:pt x="1778" y="994"/>
                  </a:lnTo>
                  <a:lnTo>
                    <a:pt x="1750" y="960"/>
                  </a:lnTo>
                  <a:lnTo>
                    <a:pt x="1718" y="930"/>
                  </a:lnTo>
                  <a:lnTo>
                    <a:pt x="1684" y="902"/>
                  </a:lnTo>
                  <a:lnTo>
                    <a:pt x="1646" y="876"/>
                  </a:lnTo>
                  <a:lnTo>
                    <a:pt x="1646" y="876"/>
                  </a:lnTo>
                  <a:lnTo>
                    <a:pt x="1682" y="818"/>
                  </a:lnTo>
                  <a:lnTo>
                    <a:pt x="1716" y="764"/>
                  </a:lnTo>
                  <a:lnTo>
                    <a:pt x="1754" y="712"/>
                  </a:lnTo>
                  <a:lnTo>
                    <a:pt x="1790" y="662"/>
                  </a:lnTo>
                  <a:lnTo>
                    <a:pt x="1830" y="614"/>
                  </a:lnTo>
                  <a:lnTo>
                    <a:pt x="1868" y="572"/>
                  </a:lnTo>
                  <a:lnTo>
                    <a:pt x="1908" y="530"/>
                  </a:lnTo>
                  <a:lnTo>
                    <a:pt x="1950" y="492"/>
                  </a:lnTo>
                  <a:lnTo>
                    <a:pt x="1992" y="458"/>
                  </a:lnTo>
                  <a:lnTo>
                    <a:pt x="2034" y="426"/>
                  </a:lnTo>
                  <a:lnTo>
                    <a:pt x="2076" y="398"/>
                  </a:lnTo>
                  <a:lnTo>
                    <a:pt x="2120" y="372"/>
                  </a:lnTo>
                  <a:lnTo>
                    <a:pt x="2164" y="350"/>
                  </a:lnTo>
                  <a:lnTo>
                    <a:pt x="2208" y="330"/>
                  </a:lnTo>
                  <a:lnTo>
                    <a:pt x="2252" y="316"/>
                  </a:lnTo>
                  <a:lnTo>
                    <a:pt x="2298" y="302"/>
                  </a:lnTo>
                  <a:lnTo>
                    <a:pt x="2298" y="302"/>
                  </a:lnTo>
                  <a:close/>
                  <a:moveTo>
                    <a:pt x="1368" y="1080"/>
                  </a:moveTo>
                  <a:lnTo>
                    <a:pt x="1368" y="1080"/>
                  </a:lnTo>
                  <a:lnTo>
                    <a:pt x="1392" y="1082"/>
                  </a:lnTo>
                  <a:lnTo>
                    <a:pt x="1416" y="1086"/>
                  </a:lnTo>
                  <a:lnTo>
                    <a:pt x="1440" y="1092"/>
                  </a:lnTo>
                  <a:lnTo>
                    <a:pt x="1462" y="1100"/>
                  </a:lnTo>
                  <a:lnTo>
                    <a:pt x="1484" y="1110"/>
                  </a:lnTo>
                  <a:lnTo>
                    <a:pt x="1504" y="1122"/>
                  </a:lnTo>
                  <a:lnTo>
                    <a:pt x="1522" y="1136"/>
                  </a:lnTo>
                  <a:lnTo>
                    <a:pt x="1540" y="1152"/>
                  </a:lnTo>
                  <a:lnTo>
                    <a:pt x="1556" y="1168"/>
                  </a:lnTo>
                  <a:lnTo>
                    <a:pt x="1570" y="1188"/>
                  </a:lnTo>
                  <a:lnTo>
                    <a:pt x="1582" y="1208"/>
                  </a:lnTo>
                  <a:lnTo>
                    <a:pt x="1592" y="1230"/>
                  </a:lnTo>
                  <a:lnTo>
                    <a:pt x="1600" y="1252"/>
                  </a:lnTo>
                  <a:lnTo>
                    <a:pt x="1606" y="1274"/>
                  </a:lnTo>
                  <a:lnTo>
                    <a:pt x="1610" y="1298"/>
                  </a:lnTo>
                  <a:lnTo>
                    <a:pt x="1610" y="1324"/>
                  </a:lnTo>
                  <a:lnTo>
                    <a:pt x="1610" y="1324"/>
                  </a:lnTo>
                  <a:lnTo>
                    <a:pt x="1610" y="1348"/>
                  </a:lnTo>
                  <a:lnTo>
                    <a:pt x="1606" y="1372"/>
                  </a:lnTo>
                  <a:lnTo>
                    <a:pt x="1600" y="1396"/>
                  </a:lnTo>
                  <a:lnTo>
                    <a:pt x="1592" y="1418"/>
                  </a:lnTo>
                  <a:lnTo>
                    <a:pt x="1582" y="1440"/>
                  </a:lnTo>
                  <a:lnTo>
                    <a:pt x="1570" y="1460"/>
                  </a:lnTo>
                  <a:lnTo>
                    <a:pt x="1556" y="1478"/>
                  </a:lnTo>
                  <a:lnTo>
                    <a:pt x="1540" y="1496"/>
                  </a:lnTo>
                  <a:lnTo>
                    <a:pt x="1522" y="1512"/>
                  </a:lnTo>
                  <a:lnTo>
                    <a:pt x="1504" y="1526"/>
                  </a:lnTo>
                  <a:lnTo>
                    <a:pt x="1484" y="1538"/>
                  </a:lnTo>
                  <a:lnTo>
                    <a:pt x="1462" y="1548"/>
                  </a:lnTo>
                  <a:lnTo>
                    <a:pt x="1440" y="1556"/>
                  </a:lnTo>
                  <a:lnTo>
                    <a:pt x="1416" y="1562"/>
                  </a:lnTo>
                  <a:lnTo>
                    <a:pt x="1392" y="1566"/>
                  </a:lnTo>
                  <a:lnTo>
                    <a:pt x="1368" y="1566"/>
                  </a:lnTo>
                  <a:lnTo>
                    <a:pt x="1368" y="1566"/>
                  </a:lnTo>
                  <a:lnTo>
                    <a:pt x="1342" y="1566"/>
                  </a:lnTo>
                  <a:lnTo>
                    <a:pt x="1318" y="1562"/>
                  </a:lnTo>
                  <a:lnTo>
                    <a:pt x="1296" y="1556"/>
                  </a:lnTo>
                  <a:lnTo>
                    <a:pt x="1274" y="1548"/>
                  </a:lnTo>
                  <a:lnTo>
                    <a:pt x="1252" y="1538"/>
                  </a:lnTo>
                  <a:lnTo>
                    <a:pt x="1232" y="1526"/>
                  </a:lnTo>
                  <a:lnTo>
                    <a:pt x="1214" y="1512"/>
                  </a:lnTo>
                  <a:lnTo>
                    <a:pt x="1196" y="1496"/>
                  </a:lnTo>
                  <a:lnTo>
                    <a:pt x="1180" y="1478"/>
                  </a:lnTo>
                  <a:lnTo>
                    <a:pt x="1166" y="1460"/>
                  </a:lnTo>
                  <a:lnTo>
                    <a:pt x="1154" y="1440"/>
                  </a:lnTo>
                  <a:lnTo>
                    <a:pt x="1144" y="1418"/>
                  </a:lnTo>
                  <a:lnTo>
                    <a:pt x="1136" y="1396"/>
                  </a:lnTo>
                  <a:lnTo>
                    <a:pt x="1130" y="1372"/>
                  </a:lnTo>
                  <a:lnTo>
                    <a:pt x="1126" y="1348"/>
                  </a:lnTo>
                  <a:lnTo>
                    <a:pt x="1124" y="1324"/>
                  </a:lnTo>
                  <a:lnTo>
                    <a:pt x="1124" y="1324"/>
                  </a:lnTo>
                  <a:lnTo>
                    <a:pt x="1126" y="1298"/>
                  </a:lnTo>
                  <a:lnTo>
                    <a:pt x="1130" y="1274"/>
                  </a:lnTo>
                  <a:lnTo>
                    <a:pt x="1136" y="1252"/>
                  </a:lnTo>
                  <a:lnTo>
                    <a:pt x="1144" y="1230"/>
                  </a:lnTo>
                  <a:lnTo>
                    <a:pt x="1154" y="1208"/>
                  </a:lnTo>
                  <a:lnTo>
                    <a:pt x="1166" y="1188"/>
                  </a:lnTo>
                  <a:lnTo>
                    <a:pt x="1180" y="1168"/>
                  </a:lnTo>
                  <a:lnTo>
                    <a:pt x="1196" y="1152"/>
                  </a:lnTo>
                  <a:lnTo>
                    <a:pt x="1214" y="1136"/>
                  </a:lnTo>
                  <a:lnTo>
                    <a:pt x="1232" y="1122"/>
                  </a:lnTo>
                  <a:lnTo>
                    <a:pt x="1252" y="1110"/>
                  </a:lnTo>
                  <a:lnTo>
                    <a:pt x="1274" y="1100"/>
                  </a:lnTo>
                  <a:lnTo>
                    <a:pt x="1296" y="1092"/>
                  </a:lnTo>
                  <a:lnTo>
                    <a:pt x="1318" y="1086"/>
                  </a:lnTo>
                  <a:lnTo>
                    <a:pt x="1342" y="1082"/>
                  </a:lnTo>
                  <a:lnTo>
                    <a:pt x="1368" y="1080"/>
                  </a:lnTo>
                  <a:lnTo>
                    <a:pt x="1368" y="1080"/>
                  </a:lnTo>
                  <a:close/>
                  <a:moveTo>
                    <a:pt x="994" y="2582"/>
                  </a:moveTo>
                  <a:lnTo>
                    <a:pt x="994" y="2582"/>
                  </a:lnTo>
                  <a:lnTo>
                    <a:pt x="1000" y="2696"/>
                  </a:lnTo>
                  <a:lnTo>
                    <a:pt x="1008" y="2810"/>
                  </a:lnTo>
                  <a:lnTo>
                    <a:pt x="1020" y="2920"/>
                  </a:lnTo>
                  <a:lnTo>
                    <a:pt x="1034" y="3030"/>
                  </a:lnTo>
                  <a:lnTo>
                    <a:pt x="1050" y="3138"/>
                  </a:lnTo>
                  <a:lnTo>
                    <a:pt x="1070" y="3242"/>
                  </a:lnTo>
                  <a:lnTo>
                    <a:pt x="1092" y="3346"/>
                  </a:lnTo>
                  <a:lnTo>
                    <a:pt x="1116" y="3446"/>
                  </a:lnTo>
                  <a:lnTo>
                    <a:pt x="536" y="3446"/>
                  </a:lnTo>
                  <a:lnTo>
                    <a:pt x="536" y="3446"/>
                  </a:lnTo>
                  <a:lnTo>
                    <a:pt x="510" y="3396"/>
                  </a:lnTo>
                  <a:lnTo>
                    <a:pt x="486" y="3346"/>
                  </a:lnTo>
                  <a:lnTo>
                    <a:pt x="464" y="3296"/>
                  </a:lnTo>
                  <a:lnTo>
                    <a:pt x="442" y="3244"/>
                  </a:lnTo>
                  <a:lnTo>
                    <a:pt x="422" y="3192"/>
                  </a:lnTo>
                  <a:lnTo>
                    <a:pt x="402" y="3140"/>
                  </a:lnTo>
                  <a:lnTo>
                    <a:pt x="384" y="3086"/>
                  </a:lnTo>
                  <a:lnTo>
                    <a:pt x="368" y="3032"/>
                  </a:lnTo>
                  <a:lnTo>
                    <a:pt x="354" y="2978"/>
                  </a:lnTo>
                  <a:lnTo>
                    <a:pt x="340" y="2924"/>
                  </a:lnTo>
                  <a:lnTo>
                    <a:pt x="328" y="2868"/>
                  </a:lnTo>
                  <a:lnTo>
                    <a:pt x="318" y="2812"/>
                  </a:lnTo>
                  <a:lnTo>
                    <a:pt x="308" y="2754"/>
                  </a:lnTo>
                  <a:lnTo>
                    <a:pt x="302" y="2698"/>
                  </a:lnTo>
                  <a:lnTo>
                    <a:pt x="294" y="2640"/>
                  </a:lnTo>
                  <a:lnTo>
                    <a:pt x="290" y="2582"/>
                  </a:lnTo>
                  <a:lnTo>
                    <a:pt x="994" y="2582"/>
                  </a:lnTo>
                  <a:close/>
                  <a:moveTo>
                    <a:pt x="3287" y="4422"/>
                  </a:moveTo>
                  <a:lnTo>
                    <a:pt x="3287" y="4422"/>
                  </a:lnTo>
                  <a:lnTo>
                    <a:pt x="3343" y="4350"/>
                  </a:lnTo>
                  <a:lnTo>
                    <a:pt x="3397" y="4274"/>
                  </a:lnTo>
                  <a:lnTo>
                    <a:pt x="3449" y="4192"/>
                  </a:lnTo>
                  <a:lnTo>
                    <a:pt x="3499" y="4108"/>
                  </a:lnTo>
                  <a:lnTo>
                    <a:pt x="3545" y="4020"/>
                  </a:lnTo>
                  <a:lnTo>
                    <a:pt x="3589" y="3928"/>
                  </a:lnTo>
                  <a:lnTo>
                    <a:pt x="3631" y="3830"/>
                  </a:lnTo>
                  <a:lnTo>
                    <a:pt x="3671" y="3730"/>
                  </a:lnTo>
                  <a:lnTo>
                    <a:pt x="4165" y="3730"/>
                  </a:lnTo>
                  <a:lnTo>
                    <a:pt x="4165" y="3730"/>
                  </a:lnTo>
                  <a:lnTo>
                    <a:pt x="4121" y="3786"/>
                  </a:lnTo>
                  <a:lnTo>
                    <a:pt x="4077" y="3840"/>
                  </a:lnTo>
                  <a:lnTo>
                    <a:pt x="4029" y="3894"/>
                  </a:lnTo>
                  <a:lnTo>
                    <a:pt x="3981" y="3944"/>
                  </a:lnTo>
                  <a:lnTo>
                    <a:pt x="3931" y="3994"/>
                  </a:lnTo>
                  <a:lnTo>
                    <a:pt x="3879" y="4042"/>
                  </a:lnTo>
                  <a:lnTo>
                    <a:pt x="3827" y="4088"/>
                  </a:lnTo>
                  <a:lnTo>
                    <a:pt x="3773" y="4132"/>
                  </a:lnTo>
                  <a:lnTo>
                    <a:pt x="3717" y="4176"/>
                  </a:lnTo>
                  <a:lnTo>
                    <a:pt x="3659" y="4216"/>
                  </a:lnTo>
                  <a:lnTo>
                    <a:pt x="3599" y="4256"/>
                  </a:lnTo>
                  <a:lnTo>
                    <a:pt x="3539" y="4292"/>
                  </a:lnTo>
                  <a:lnTo>
                    <a:pt x="3479" y="4328"/>
                  </a:lnTo>
                  <a:lnTo>
                    <a:pt x="3415" y="4360"/>
                  </a:lnTo>
                  <a:lnTo>
                    <a:pt x="3351" y="4392"/>
                  </a:lnTo>
                  <a:lnTo>
                    <a:pt x="3287" y="4422"/>
                  </a:lnTo>
                  <a:lnTo>
                    <a:pt x="3287" y="4422"/>
                  </a:lnTo>
                  <a:close/>
                  <a:moveTo>
                    <a:pt x="4165" y="1150"/>
                  </a:moveTo>
                  <a:lnTo>
                    <a:pt x="3673" y="1150"/>
                  </a:lnTo>
                  <a:lnTo>
                    <a:pt x="3673" y="1150"/>
                  </a:lnTo>
                  <a:lnTo>
                    <a:pt x="3635" y="1050"/>
                  </a:lnTo>
                  <a:lnTo>
                    <a:pt x="3593" y="954"/>
                  </a:lnTo>
                  <a:lnTo>
                    <a:pt x="3549" y="862"/>
                  </a:lnTo>
                  <a:lnTo>
                    <a:pt x="3503" y="774"/>
                  </a:lnTo>
                  <a:lnTo>
                    <a:pt x="3455" y="690"/>
                  </a:lnTo>
                  <a:lnTo>
                    <a:pt x="3403" y="610"/>
                  </a:lnTo>
                  <a:lnTo>
                    <a:pt x="3349" y="534"/>
                  </a:lnTo>
                  <a:lnTo>
                    <a:pt x="3295" y="462"/>
                  </a:lnTo>
                  <a:lnTo>
                    <a:pt x="3295" y="462"/>
                  </a:lnTo>
                  <a:lnTo>
                    <a:pt x="3359" y="492"/>
                  </a:lnTo>
                  <a:lnTo>
                    <a:pt x="3423" y="522"/>
                  </a:lnTo>
                  <a:lnTo>
                    <a:pt x="3485" y="556"/>
                  </a:lnTo>
                  <a:lnTo>
                    <a:pt x="3545" y="590"/>
                  </a:lnTo>
                  <a:lnTo>
                    <a:pt x="3605" y="628"/>
                  </a:lnTo>
                  <a:lnTo>
                    <a:pt x="3663" y="666"/>
                  </a:lnTo>
                  <a:lnTo>
                    <a:pt x="3719" y="708"/>
                  </a:lnTo>
                  <a:lnTo>
                    <a:pt x="3775" y="750"/>
                  </a:lnTo>
                  <a:lnTo>
                    <a:pt x="3829" y="794"/>
                  </a:lnTo>
                  <a:lnTo>
                    <a:pt x="3883" y="840"/>
                  </a:lnTo>
                  <a:lnTo>
                    <a:pt x="3933" y="888"/>
                  </a:lnTo>
                  <a:lnTo>
                    <a:pt x="3983" y="936"/>
                  </a:lnTo>
                  <a:lnTo>
                    <a:pt x="4031" y="988"/>
                  </a:lnTo>
                  <a:lnTo>
                    <a:pt x="4077" y="1040"/>
                  </a:lnTo>
                  <a:lnTo>
                    <a:pt x="4121" y="1094"/>
                  </a:lnTo>
                  <a:lnTo>
                    <a:pt x="4165" y="1150"/>
                  </a:lnTo>
                  <a:lnTo>
                    <a:pt x="4165" y="1150"/>
                  </a:lnTo>
                  <a:close/>
                  <a:moveTo>
                    <a:pt x="1588" y="462"/>
                  </a:moveTo>
                  <a:lnTo>
                    <a:pt x="1588" y="462"/>
                  </a:lnTo>
                  <a:lnTo>
                    <a:pt x="1558" y="498"/>
                  </a:lnTo>
                  <a:lnTo>
                    <a:pt x="1528" y="538"/>
                  </a:lnTo>
                  <a:lnTo>
                    <a:pt x="1500" y="578"/>
                  </a:lnTo>
                  <a:lnTo>
                    <a:pt x="1472" y="618"/>
                  </a:lnTo>
                  <a:lnTo>
                    <a:pt x="1444" y="660"/>
                  </a:lnTo>
                  <a:lnTo>
                    <a:pt x="1418" y="704"/>
                  </a:lnTo>
                  <a:lnTo>
                    <a:pt x="1392" y="750"/>
                  </a:lnTo>
                  <a:lnTo>
                    <a:pt x="1366" y="796"/>
                  </a:lnTo>
                  <a:lnTo>
                    <a:pt x="1366" y="796"/>
                  </a:lnTo>
                  <a:lnTo>
                    <a:pt x="1324" y="798"/>
                  </a:lnTo>
                  <a:lnTo>
                    <a:pt x="1282" y="802"/>
                  </a:lnTo>
                  <a:lnTo>
                    <a:pt x="1240" y="812"/>
                  </a:lnTo>
                  <a:lnTo>
                    <a:pt x="1202" y="822"/>
                  </a:lnTo>
                  <a:lnTo>
                    <a:pt x="1164" y="838"/>
                  </a:lnTo>
                  <a:lnTo>
                    <a:pt x="1128" y="854"/>
                  </a:lnTo>
                  <a:lnTo>
                    <a:pt x="1092" y="874"/>
                  </a:lnTo>
                  <a:lnTo>
                    <a:pt x="1060" y="896"/>
                  </a:lnTo>
                  <a:lnTo>
                    <a:pt x="1028" y="920"/>
                  </a:lnTo>
                  <a:lnTo>
                    <a:pt x="998" y="948"/>
                  </a:lnTo>
                  <a:lnTo>
                    <a:pt x="970" y="976"/>
                  </a:lnTo>
                  <a:lnTo>
                    <a:pt x="946" y="1008"/>
                  </a:lnTo>
                  <a:lnTo>
                    <a:pt x="924" y="1040"/>
                  </a:lnTo>
                  <a:lnTo>
                    <a:pt x="902" y="1076"/>
                  </a:lnTo>
                  <a:lnTo>
                    <a:pt x="886" y="1112"/>
                  </a:lnTo>
                  <a:lnTo>
                    <a:pt x="870" y="1150"/>
                  </a:lnTo>
                  <a:lnTo>
                    <a:pt x="716" y="1150"/>
                  </a:lnTo>
                  <a:lnTo>
                    <a:pt x="716" y="1150"/>
                  </a:lnTo>
                  <a:lnTo>
                    <a:pt x="758" y="1094"/>
                  </a:lnTo>
                  <a:lnTo>
                    <a:pt x="804" y="1040"/>
                  </a:lnTo>
                  <a:lnTo>
                    <a:pt x="850" y="988"/>
                  </a:lnTo>
                  <a:lnTo>
                    <a:pt x="898" y="936"/>
                  </a:lnTo>
                  <a:lnTo>
                    <a:pt x="948" y="888"/>
                  </a:lnTo>
                  <a:lnTo>
                    <a:pt x="998" y="840"/>
                  </a:lnTo>
                  <a:lnTo>
                    <a:pt x="1052" y="794"/>
                  </a:lnTo>
                  <a:lnTo>
                    <a:pt x="1106" y="750"/>
                  </a:lnTo>
                  <a:lnTo>
                    <a:pt x="1162" y="706"/>
                  </a:lnTo>
                  <a:lnTo>
                    <a:pt x="1218" y="666"/>
                  </a:lnTo>
                  <a:lnTo>
                    <a:pt x="1276" y="628"/>
                  </a:lnTo>
                  <a:lnTo>
                    <a:pt x="1336" y="590"/>
                  </a:lnTo>
                  <a:lnTo>
                    <a:pt x="1398" y="554"/>
                  </a:lnTo>
                  <a:lnTo>
                    <a:pt x="1460" y="522"/>
                  </a:lnTo>
                  <a:lnTo>
                    <a:pt x="1522" y="490"/>
                  </a:lnTo>
                  <a:lnTo>
                    <a:pt x="1588" y="462"/>
                  </a:lnTo>
                  <a:lnTo>
                    <a:pt x="1588" y="46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91" name="Google Shape;3928;p94">
            <a:extLst>
              <a:ext uri="{FF2B5EF4-FFF2-40B4-BE49-F238E27FC236}">
                <a16:creationId xmlns:a16="http://schemas.microsoft.com/office/drawing/2014/main" id="{1DAC3820-0843-41C5-BD8E-EB0684D6410B}"/>
              </a:ext>
            </a:extLst>
          </p:cNvPr>
          <p:cNvSpPr/>
          <p:nvPr/>
        </p:nvSpPr>
        <p:spPr>
          <a:xfrm>
            <a:off x="1992316" y="4930336"/>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92" name="Google Shape;3929;p94">
            <a:extLst>
              <a:ext uri="{FF2B5EF4-FFF2-40B4-BE49-F238E27FC236}">
                <a16:creationId xmlns:a16="http://schemas.microsoft.com/office/drawing/2014/main" id="{5D2C9076-FE10-4DDC-8C46-B8A187D31FD0}"/>
              </a:ext>
            </a:extLst>
          </p:cNvPr>
          <p:cNvSpPr/>
          <p:nvPr/>
        </p:nvSpPr>
        <p:spPr>
          <a:xfrm>
            <a:off x="2148269" y="5000448"/>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93" name="Google Shape;3930;p94">
            <a:extLst>
              <a:ext uri="{FF2B5EF4-FFF2-40B4-BE49-F238E27FC236}">
                <a16:creationId xmlns:a16="http://schemas.microsoft.com/office/drawing/2014/main" id="{20DDF01B-43DA-4739-B941-B60FCDA9F754}"/>
              </a:ext>
            </a:extLst>
          </p:cNvPr>
          <p:cNvSpPr txBox="1"/>
          <p:nvPr/>
        </p:nvSpPr>
        <p:spPr>
          <a:xfrm>
            <a:off x="2000603" y="5123412"/>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sym typeface="Arial"/>
              </a:rPr>
              <a:t>5</a:t>
            </a:r>
            <a:endParaRPr kumimoji="0"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Google Shape;3931;p94">
            <a:extLst>
              <a:ext uri="{FF2B5EF4-FFF2-40B4-BE49-F238E27FC236}">
                <a16:creationId xmlns:a16="http://schemas.microsoft.com/office/drawing/2014/main" id="{D18BC634-2431-4ED6-A246-BC37B342D4E6}"/>
              </a:ext>
            </a:extLst>
          </p:cNvPr>
          <p:cNvSpPr/>
          <p:nvPr/>
        </p:nvSpPr>
        <p:spPr>
          <a:xfrm>
            <a:off x="10208890" y="4972929"/>
            <a:ext cx="466404" cy="466334"/>
          </a:xfrm>
          <a:custGeom>
            <a:avLst/>
            <a:gdLst/>
            <a:ahLst/>
            <a:cxnLst/>
            <a:rect l="l" t="t" r="r" b="b"/>
            <a:pathLst>
              <a:path w="6708" h="6707" extrusionOk="0">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chemeClr val="accent4">
              <a:lumMod val="50000"/>
            </a:schemeClr>
          </a:solidFill>
          <a:ln>
            <a:noFill/>
          </a:ln>
        </p:spPr>
        <p:txBody>
          <a:bodyPr spcFirstLastPara="1" wrap="square" lIns="86200" tIns="43100" rIns="86200" bIns="431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6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97" name="Google Shape;3934;p94">
            <a:extLst>
              <a:ext uri="{FF2B5EF4-FFF2-40B4-BE49-F238E27FC236}">
                <a16:creationId xmlns:a16="http://schemas.microsoft.com/office/drawing/2014/main" id="{A505460D-20F3-4A80-A586-81B0F55C7F8D}"/>
              </a:ext>
            </a:extLst>
          </p:cNvPr>
          <p:cNvSpPr/>
          <p:nvPr/>
        </p:nvSpPr>
        <p:spPr>
          <a:xfrm>
            <a:off x="1992316" y="5720911"/>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98" name="Google Shape;3935;p94">
            <a:extLst>
              <a:ext uri="{FF2B5EF4-FFF2-40B4-BE49-F238E27FC236}">
                <a16:creationId xmlns:a16="http://schemas.microsoft.com/office/drawing/2014/main" id="{488A3DF3-2D37-48F1-9F0D-C4C708CABF3F}"/>
              </a:ext>
            </a:extLst>
          </p:cNvPr>
          <p:cNvSpPr/>
          <p:nvPr/>
        </p:nvSpPr>
        <p:spPr>
          <a:xfrm>
            <a:off x="2148269" y="5791023"/>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99" name="Google Shape;3936;p94">
            <a:extLst>
              <a:ext uri="{FF2B5EF4-FFF2-40B4-BE49-F238E27FC236}">
                <a16:creationId xmlns:a16="http://schemas.microsoft.com/office/drawing/2014/main" id="{657CE447-105C-44CF-A47E-844C2FDF7E49}"/>
              </a:ext>
            </a:extLst>
          </p:cNvPr>
          <p:cNvSpPr txBox="1"/>
          <p:nvPr/>
        </p:nvSpPr>
        <p:spPr>
          <a:xfrm>
            <a:off x="2000603" y="5913987"/>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sym typeface="Arial"/>
              </a:rPr>
              <a:t>6</a:t>
            </a:r>
            <a:endParaRPr kumimoji="0"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0" name="Google Shape;3937;p94">
            <a:extLst>
              <a:ext uri="{FF2B5EF4-FFF2-40B4-BE49-F238E27FC236}">
                <a16:creationId xmlns:a16="http://schemas.microsoft.com/office/drawing/2014/main" id="{80765BEE-AE53-40BE-8851-38F4CE8F2431}"/>
              </a:ext>
            </a:extLst>
          </p:cNvPr>
          <p:cNvSpPr/>
          <p:nvPr/>
        </p:nvSpPr>
        <p:spPr>
          <a:xfrm>
            <a:off x="10199684" y="5722921"/>
            <a:ext cx="461734" cy="461665"/>
          </a:xfrm>
          <a:custGeom>
            <a:avLst/>
            <a:gdLst/>
            <a:ahLst/>
            <a:cxnLst/>
            <a:rect l="l" t="t" r="r" b="b"/>
            <a:pathLst>
              <a:path w="6673" h="6672" extrusionOk="0">
                <a:moveTo>
                  <a:pt x="0" y="0"/>
                </a:moveTo>
                <a:lnTo>
                  <a:pt x="0" y="6672"/>
                </a:lnTo>
                <a:lnTo>
                  <a:pt x="6673" y="6672"/>
                </a:lnTo>
                <a:lnTo>
                  <a:pt x="6673" y="0"/>
                </a:lnTo>
                <a:lnTo>
                  <a:pt x="0" y="0"/>
                </a:lnTo>
                <a:close/>
                <a:moveTo>
                  <a:pt x="2260" y="1734"/>
                </a:moveTo>
                <a:lnTo>
                  <a:pt x="2260" y="1734"/>
                </a:lnTo>
                <a:lnTo>
                  <a:pt x="2264" y="1688"/>
                </a:lnTo>
                <a:lnTo>
                  <a:pt x="2270" y="1644"/>
                </a:lnTo>
                <a:lnTo>
                  <a:pt x="2280" y="1600"/>
                </a:lnTo>
                <a:lnTo>
                  <a:pt x="2296" y="1560"/>
                </a:lnTo>
                <a:lnTo>
                  <a:pt x="2316" y="1520"/>
                </a:lnTo>
                <a:lnTo>
                  <a:pt x="2338" y="1482"/>
                </a:lnTo>
                <a:lnTo>
                  <a:pt x="2364" y="1448"/>
                </a:lnTo>
                <a:lnTo>
                  <a:pt x="2392" y="1416"/>
                </a:lnTo>
                <a:lnTo>
                  <a:pt x="2424" y="1386"/>
                </a:lnTo>
                <a:lnTo>
                  <a:pt x="2460" y="1360"/>
                </a:lnTo>
                <a:lnTo>
                  <a:pt x="2496" y="1338"/>
                </a:lnTo>
                <a:lnTo>
                  <a:pt x="2536" y="1320"/>
                </a:lnTo>
                <a:lnTo>
                  <a:pt x="2578" y="1304"/>
                </a:lnTo>
                <a:lnTo>
                  <a:pt x="2620" y="1294"/>
                </a:lnTo>
                <a:lnTo>
                  <a:pt x="2666" y="1286"/>
                </a:lnTo>
                <a:lnTo>
                  <a:pt x="2712" y="1284"/>
                </a:lnTo>
                <a:lnTo>
                  <a:pt x="2712" y="1284"/>
                </a:lnTo>
                <a:lnTo>
                  <a:pt x="2758" y="1286"/>
                </a:lnTo>
                <a:lnTo>
                  <a:pt x="2802" y="1294"/>
                </a:lnTo>
                <a:lnTo>
                  <a:pt x="2846" y="1304"/>
                </a:lnTo>
                <a:lnTo>
                  <a:pt x="2886" y="1320"/>
                </a:lnTo>
                <a:lnTo>
                  <a:pt x="2926" y="1338"/>
                </a:lnTo>
                <a:lnTo>
                  <a:pt x="2964" y="1360"/>
                </a:lnTo>
                <a:lnTo>
                  <a:pt x="2998" y="1386"/>
                </a:lnTo>
                <a:lnTo>
                  <a:pt x="3030" y="1416"/>
                </a:lnTo>
                <a:lnTo>
                  <a:pt x="3058" y="1448"/>
                </a:lnTo>
                <a:lnTo>
                  <a:pt x="3084" y="1482"/>
                </a:lnTo>
                <a:lnTo>
                  <a:pt x="3108" y="1520"/>
                </a:lnTo>
                <a:lnTo>
                  <a:pt x="3126" y="1560"/>
                </a:lnTo>
                <a:lnTo>
                  <a:pt x="3142" y="1600"/>
                </a:lnTo>
                <a:lnTo>
                  <a:pt x="3152" y="1644"/>
                </a:lnTo>
                <a:lnTo>
                  <a:pt x="3160" y="1688"/>
                </a:lnTo>
                <a:lnTo>
                  <a:pt x="3162" y="1734"/>
                </a:lnTo>
                <a:lnTo>
                  <a:pt x="3162" y="1734"/>
                </a:lnTo>
                <a:lnTo>
                  <a:pt x="3160" y="1780"/>
                </a:lnTo>
                <a:lnTo>
                  <a:pt x="3152" y="1826"/>
                </a:lnTo>
                <a:lnTo>
                  <a:pt x="3142" y="1868"/>
                </a:lnTo>
                <a:lnTo>
                  <a:pt x="3126" y="1910"/>
                </a:lnTo>
                <a:lnTo>
                  <a:pt x="3108" y="1950"/>
                </a:lnTo>
                <a:lnTo>
                  <a:pt x="3084" y="1986"/>
                </a:lnTo>
                <a:lnTo>
                  <a:pt x="3058" y="2022"/>
                </a:lnTo>
                <a:lnTo>
                  <a:pt x="3030" y="2054"/>
                </a:lnTo>
                <a:lnTo>
                  <a:pt x="2998" y="2082"/>
                </a:lnTo>
                <a:lnTo>
                  <a:pt x="2964" y="2108"/>
                </a:lnTo>
                <a:lnTo>
                  <a:pt x="2926" y="2130"/>
                </a:lnTo>
                <a:lnTo>
                  <a:pt x="2886" y="2150"/>
                </a:lnTo>
                <a:lnTo>
                  <a:pt x="2846" y="2164"/>
                </a:lnTo>
                <a:lnTo>
                  <a:pt x="2802" y="2176"/>
                </a:lnTo>
                <a:lnTo>
                  <a:pt x="2758" y="2182"/>
                </a:lnTo>
                <a:lnTo>
                  <a:pt x="2712" y="2186"/>
                </a:lnTo>
                <a:lnTo>
                  <a:pt x="2712" y="2186"/>
                </a:lnTo>
                <a:lnTo>
                  <a:pt x="2666" y="2182"/>
                </a:lnTo>
                <a:lnTo>
                  <a:pt x="2620" y="2176"/>
                </a:lnTo>
                <a:lnTo>
                  <a:pt x="2578" y="2164"/>
                </a:lnTo>
                <a:lnTo>
                  <a:pt x="2536" y="2150"/>
                </a:lnTo>
                <a:lnTo>
                  <a:pt x="2496" y="2130"/>
                </a:lnTo>
                <a:lnTo>
                  <a:pt x="2460" y="2108"/>
                </a:lnTo>
                <a:lnTo>
                  <a:pt x="2424" y="2082"/>
                </a:lnTo>
                <a:lnTo>
                  <a:pt x="2392" y="2054"/>
                </a:lnTo>
                <a:lnTo>
                  <a:pt x="2364" y="2022"/>
                </a:lnTo>
                <a:lnTo>
                  <a:pt x="2338" y="1986"/>
                </a:lnTo>
                <a:lnTo>
                  <a:pt x="2316" y="1950"/>
                </a:lnTo>
                <a:lnTo>
                  <a:pt x="2296" y="1910"/>
                </a:lnTo>
                <a:lnTo>
                  <a:pt x="2280" y="1868"/>
                </a:lnTo>
                <a:lnTo>
                  <a:pt x="2270" y="1826"/>
                </a:lnTo>
                <a:lnTo>
                  <a:pt x="2264" y="1780"/>
                </a:lnTo>
                <a:lnTo>
                  <a:pt x="2260" y="1734"/>
                </a:lnTo>
                <a:lnTo>
                  <a:pt x="2260" y="1734"/>
                </a:lnTo>
                <a:close/>
                <a:moveTo>
                  <a:pt x="6389" y="6388"/>
                </a:moveTo>
                <a:lnTo>
                  <a:pt x="4183" y="6388"/>
                </a:lnTo>
                <a:lnTo>
                  <a:pt x="4183" y="5708"/>
                </a:lnTo>
                <a:lnTo>
                  <a:pt x="5355" y="4732"/>
                </a:lnTo>
                <a:lnTo>
                  <a:pt x="5355" y="2584"/>
                </a:lnTo>
                <a:lnTo>
                  <a:pt x="5355" y="2584"/>
                </a:lnTo>
                <a:lnTo>
                  <a:pt x="5387" y="2578"/>
                </a:lnTo>
                <a:lnTo>
                  <a:pt x="5419" y="2568"/>
                </a:lnTo>
                <a:lnTo>
                  <a:pt x="5449" y="2560"/>
                </a:lnTo>
                <a:lnTo>
                  <a:pt x="5479" y="2548"/>
                </a:lnTo>
                <a:lnTo>
                  <a:pt x="5507" y="2536"/>
                </a:lnTo>
                <a:lnTo>
                  <a:pt x="5535" y="2524"/>
                </a:lnTo>
                <a:lnTo>
                  <a:pt x="5563" y="2510"/>
                </a:lnTo>
                <a:lnTo>
                  <a:pt x="5591" y="2494"/>
                </a:lnTo>
                <a:lnTo>
                  <a:pt x="5617" y="2476"/>
                </a:lnTo>
                <a:lnTo>
                  <a:pt x="5643" y="2460"/>
                </a:lnTo>
                <a:lnTo>
                  <a:pt x="5667" y="2440"/>
                </a:lnTo>
                <a:lnTo>
                  <a:pt x="5691" y="2420"/>
                </a:lnTo>
                <a:lnTo>
                  <a:pt x="5715" y="2400"/>
                </a:lnTo>
                <a:lnTo>
                  <a:pt x="5737" y="2378"/>
                </a:lnTo>
                <a:lnTo>
                  <a:pt x="5759" y="2356"/>
                </a:lnTo>
                <a:lnTo>
                  <a:pt x="5779" y="2332"/>
                </a:lnTo>
                <a:lnTo>
                  <a:pt x="5799" y="2308"/>
                </a:lnTo>
                <a:lnTo>
                  <a:pt x="5817" y="2282"/>
                </a:lnTo>
                <a:lnTo>
                  <a:pt x="5833" y="2258"/>
                </a:lnTo>
                <a:lnTo>
                  <a:pt x="5851" y="2230"/>
                </a:lnTo>
                <a:lnTo>
                  <a:pt x="5865" y="2204"/>
                </a:lnTo>
                <a:lnTo>
                  <a:pt x="5879" y="2174"/>
                </a:lnTo>
                <a:lnTo>
                  <a:pt x="5891" y="2146"/>
                </a:lnTo>
                <a:lnTo>
                  <a:pt x="5903" y="2116"/>
                </a:lnTo>
                <a:lnTo>
                  <a:pt x="5913" y="2086"/>
                </a:lnTo>
                <a:lnTo>
                  <a:pt x="5923" y="2056"/>
                </a:lnTo>
                <a:lnTo>
                  <a:pt x="5931" y="2026"/>
                </a:lnTo>
                <a:lnTo>
                  <a:pt x="5937" y="1994"/>
                </a:lnTo>
                <a:lnTo>
                  <a:pt x="5943" y="1962"/>
                </a:lnTo>
                <a:lnTo>
                  <a:pt x="5945" y="1930"/>
                </a:lnTo>
                <a:lnTo>
                  <a:pt x="5947" y="1896"/>
                </a:lnTo>
                <a:lnTo>
                  <a:pt x="5949" y="1864"/>
                </a:lnTo>
                <a:lnTo>
                  <a:pt x="5949" y="1864"/>
                </a:lnTo>
                <a:lnTo>
                  <a:pt x="5947" y="1826"/>
                </a:lnTo>
                <a:lnTo>
                  <a:pt x="5945" y="1788"/>
                </a:lnTo>
                <a:lnTo>
                  <a:pt x="5941" y="1752"/>
                </a:lnTo>
                <a:lnTo>
                  <a:pt x="5933" y="1716"/>
                </a:lnTo>
                <a:lnTo>
                  <a:pt x="5925" y="1680"/>
                </a:lnTo>
                <a:lnTo>
                  <a:pt x="5915" y="1644"/>
                </a:lnTo>
                <a:lnTo>
                  <a:pt x="5903" y="1610"/>
                </a:lnTo>
                <a:lnTo>
                  <a:pt x="5891" y="1578"/>
                </a:lnTo>
                <a:lnTo>
                  <a:pt x="5877" y="1544"/>
                </a:lnTo>
                <a:lnTo>
                  <a:pt x="5859" y="1512"/>
                </a:lnTo>
                <a:lnTo>
                  <a:pt x="5843" y="1482"/>
                </a:lnTo>
                <a:lnTo>
                  <a:pt x="5823" y="1452"/>
                </a:lnTo>
                <a:lnTo>
                  <a:pt x="5803" y="1424"/>
                </a:lnTo>
                <a:lnTo>
                  <a:pt x="5781" y="1396"/>
                </a:lnTo>
                <a:lnTo>
                  <a:pt x="5757" y="1368"/>
                </a:lnTo>
                <a:lnTo>
                  <a:pt x="5733" y="1344"/>
                </a:lnTo>
                <a:lnTo>
                  <a:pt x="5707" y="1320"/>
                </a:lnTo>
                <a:lnTo>
                  <a:pt x="5681" y="1296"/>
                </a:lnTo>
                <a:lnTo>
                  <a:pt x="5653" y="1274"/>
                </a:lnTo>
                <a:lnTo>
                  <a:pt x="5625" y="1254"/>
                </a:lnTo>
                <a:lnTo>
                  <a:pt x="5595" y="1234"/>
                </a:lnTo>
                <a:lnTo>
                  <a:pt x="5563" y="1216"/>
                </a:lnTo>
                <a:lnTo>
                  <a:pt x="5531" y="1200"/>
                </a:lnTo>
                <a:lnTo>
                  <a:pt x="5499" y="1186"/>
                </a:lnTo>
                <a:lnTo>
                  <a:pt x="5465" y="1172"/>
                </a:lnTo>
                <a:lnTo>
                  <a:pt x="5431" y="1160"/>
                </a:lnTo>
                <a:lnTo>
                  <a:pt x="5397" y="1150"/>
                </a:lnTo>
                <a:lnTo>
                  <a:pt x="5361" y="1142"/>
                </a:lnTo>
                <a:lnTo>
                  <a:pt x="5325" y="1136"/>
                </a:lnTo>
                <a:lnTo>
                  <a:pt x="5289" y="1132"/>
                </a:lnTo>
                <a:lnTo>
                  <a:pt x="5251" y="1128"/>
                </a:lnTo>
                <a:lnTo>
                  <a:pt x="5213" y="1128"/>
                </a:lnTo>
                <a:lnTo>
                  <a:pt x="5213" y="1128"/>
                </a:lnTo>
                <a:lnTo>
                  <a:pt x="5175" y="1128"/>
                </a:lnTo>
                <a:lnTo>
                  <a:pt x="5139" y="1132"/>
                </a:lnTo>
                <a:lnTo>
                  <a:pt x="5101" y="1136"/>
                </a:lnTo>
                <a:lnTo>
                  <a:pt x="5065" y="1142"/>
                </a:lnTo>
                <a:lnTo>
                  <a:pt x="5029" y="1150"/>
                </a:lnTo>
                <a:lnTo>
                  <a:pt x="4995" y="1160"/>
                </a:lnTo>
                <a:lnTo>
                  <a:pt x="4961" y="1172"/>
                </a:lnTo>
                <a:lnTo>
                  <a:pt x="4927" y="1186"/>
                </a:lnTo>
                <a:lnTo>
                  <a:pt x="4895" y="1200"/>
                </a:lnTo>
                <a:lnTo>
                  <a:pt x="4863" y="1216"/>
                </a:lnTo>
                <a:lnTo>
                  <a:pt x="4833" y="1234"/>
                </a:lnTo>
                <a:lnTo>
                  <a:pt x="4803" y="1254"/>
                </a:lnTo>
                <a:lnTo>
                  <a:pt x="4773" y="1274"/>
                </a:lnTo>
                <a:lnTo>
                  <a:pt x="4747" y="1296"/>
                </a:lnTo>
                <a:lnTo>
                  <a:pt x="4719" y="1320"/>
                </a:lnTo>
                <a:lnTo>
                  <a:pt x="4693" y="1344"/>
                </a:lnTo>
                <a:lnTo>
                  <a:pt x="4669" y="1368"/>
                </a:lnTo>
                <a:lnTo>
                  <a:pt x="4647" y="1396"/>
                </a:lnTo>
                <a:lnTo>
                  <a:pt x="4625" y="1424"/>
                </a:lnTo>
                <a:lnTo>
                  <a:pt x="4603" y="1452"/>
                </a:lnTo>
                <a:lnTo>
                  <a:pt x="4585" y="1482"/>
                </a:lnTo>
                <a:lnTo>
                  <a:pt x="4567" y="1512"/>
                </a:lnTo>
                <a:lnTo>
                  <a:pt x="4551" y="1544"/>
                </a:lnTo>
                <a:lnTo>
                  <a:pt x="4537" y="1578"/>
                </a:lnTo>
                <a:lnTo>
                  <a:pt x="4523" y="1610"/>
                </a:lnTo>
                <a:lnTo>
                  <a:pt x="4511" y="1644"/>
                </a:lnTo>
                <a:lnTo>
                  <a:pt x="4501" y="1680"/>
                </a:lnTo>
                <a:lnTo>
                  <a:pt x="4493" y="1716"/>
                </a:lnTo>
                <a:lnTo>
                  <a:pt x="4487" y="1752"/>
                </a:lnTo>
                <a:lnTo>
                  <a:pt x="4483" y="1788"/>
                </a:lnTo>
                <a:lnTo>
                  <a:pt x="4479" y="1826"/>
                </a:lnTo>
                <a:lnTo>
                  <a:pt x="4479" y="1864"/>
                </a:lnTo>
                <a:lnTo>
                  <a:pt x="4479" y="1864"/>
                </a:lnTo>
                <a:lnTo>
                  <a:pt x="4479" y="1896"/>
                </a:lnTo>
                <a:lnTo>
                  <a:pt x="4481" y="1930"/>
                </a:lnTo>
                <a:lnTo>
                  <a:pt x="4485" y="1962"/>
                </a:lnTo>
                <a:lnTo>
                  <a:pt x="4489" y="1994"/>
                </a:lnTo>
                <a:lnTo>
                  <a:pt x="4497" y="2026"/>
                </a:lnTo>
                <a:lnTo>
                  <a:pt x="4505" y="2056"/>
                </a:lnTo>
                <a:lnTo>
                  <a:pt x="4513" y="2086"/>
                </a:lnTo>
                <a:lnTo>
                  <a:pt x="4523" y="2116"/>
                </a:lnTo>
                <a:lnTo>
                  <a:pt x="4535" y="2146"/>
                </a:lnTo>
                <a:lnTo>
                  <a:pt x="4547" y="2174"/>
                </a:lnTo>
                <a:lnTo>
                  <a:pt x="4561" y="2204"/>
                </a:lnTo>
                <a:lnTo>
                  <a:pt x="4577" y="2230"/>
                </a:lnTo>
                <a:lnTo>
                  <a:pt x="4593" y="2258"/>
                </a:lnTo>
                <a:lnTo>
                  <a:pt x="4611" y="2282"/>
                </a:lnTo>
                <a:lnTo>
                  <a:pt x="4629" y="2308"/>
                </a:lnTo>
                <a:lnTo>
                  <a:pt x="4649" y="2332"/>
                </a:lnTo>
                <a:lnTo>
                  <a:pt x="4669" y="2356"/>
                </a:lnTo>
                <a:lnTo>
                  <a:pt x="4689" y="2378"/>
                </a:lnTo>
                <a:lnTo>
                  <a:pt x="4713" y="2400"/>
                </a:lnTo>
                <a:lnTo>
                  <a:pt x="4735" y="2420"/>
                </a:lnTo>
                <a:lnTo>
                  <a:pt x="4759" y="2440"/>
                </a:lnTo>
                <a:lnTo>
                  <a:pt x="4785" y="2460"/>
                </a:lnTo>
                <a:lnTo>
                  <a:pt x="4809" y="2476"/>
                </a:lnTo>
                <a:lnTo>
                  <a:pt x="4837" y="2494"/>
                </a:lnTo>
                <a:lnTo>
                  <a:pt x="4863" y="2510"/>
                </a:lnTo>
                <a:lnTo>
                  <a:pt x="4891" y="2524"/>
                </a:lnTo>
                <a:lnTo>
                  <a:pt x="4919" y="2536"/>
                </a:lnTo>
                <a:lnTo>
                  <a:pt x="4949" y="2548"/>
                </a:lnTo>
                <a:lnTo>
                  <a:pt x="4979" y="2560"/>
                </a:lnTo>
                <a:lnTo>
                  <a:pt x="5009" y="2568"/>
                </a:lnTo>
                <a:lnTo>
                  <a:pt x="5039" y="2578"/>
                </a:lnTo>
                <a:lnTo>
                  <a:pt x="5071" y="2584"/>
                </a:lnTo>
                <a:lnTo>
                  <a:pt x="5071" y="4600"/>
                </a:lnTo>
                <a:lnTo>
                  <a:pt x="3899" y="5576"/>
                </a:lnTo>
                <a:lnTo>
                  <a:pt x="3899" y="6388"/>
                </a:lnTo>
                <a:lnTo>
                  <a:pt x="3567" y="6388"/>
                </a:lnTo>
                <a:lnTo>
                  <a:pt x="3567" y="4988"/>
                </a:lnTo>
                <a:lnTo>
                  <a:pt x="4105" y="4526"/>
                </a:lnTo>
                <a:lnTo>
                  <a:pt x="4105" y="3818"/>
                </a:lnTo>
                <a:lnTo>
                  <a:pt x="4105" y="3818"/>
                </a:lnTo>
                <a:lnTo>
                  <a:pt x="4137" y="3810"/>
                </a:lnTo>
                <a:lnTo>
                  <a:pt x="4167" y="3802"/>
                </a:lnTo>
                <a:lnTo>
                  <a:pt x="4197" y="3792"/>
                </a:lnTo>
                <a:lnTo>
                  <a:pt x="4227" y="3782"/>
                </a:lnTo>
                <a:lnTo>
                  <a:pt x="4257" y="3770"/>
                </a:lnTo>
                <a:lnTo>
                  <a:pt x="4285" y="3756"/>
                </a:lnTo>
                <a:lnTo>
                  <a:pt x="4313" y="3742"/>
                </a:lnTo>
                <a:lnTo>
                  <a:pt x="4341" y="3726"/>
                </a:lnTo>
                <a:lnTo>
                  <a:pt x="4367" y="3710"/>
                </a:lnTo>
                <a:lnTo>
                  <a:pt x="4393" y="3692"/>
                </a:lnTo>
                <a:lnTo>
                  <a:pt x="4417" y="3674"/>
                </a:lnTo>
                <a:lnTo>
                  <a:pt x="4441" y="3654"/>
                </a:lnTo>
                <a:lnTo>
                  <a:pt x="4465" y="3634"/>
                </a:lnTo>
                <a:lnTo>
                  <a:pt x="4487" y="3612"/>
                </a:lnTo>
                <a:lnTo>
                  <a:pt x="4507" y="3590"/>
                </a:lnTo>
                <a:lnTo>
                  <a:pt x="4529" y="3566"/>
                </a:lnTo>
                <a:lnTo>
                  <a:pt x="4547" y="3542"/>
                </a:lnTo>
                <a:lnTo>
                  <a:pt x="4565" y="3516"/>
                </a:lnTo>
                <a:lnTo>
                  <a:pt x="4583" y="3490"/>
                </a:lnTo>
                <a:lnTo>
                  <a:pt x="4599" y="3464"/>
                </a:lnTo>
                <a:lnTo>
                  <a:pt x="4615" y="3436"/>
                </a:lnTo>
                <a:lnTo>
                  <a:pt x="4629" y="3408"/>
                </a:lnTo>
                <a:lnTo>
                  <a:pt x="4641" y="3380"/>
                </a:lnTo>
                <a:lnTo>
                  <a:pt x="4653" y="3350"/>
                </a:lnTo>
                <a:lnTo>
                  <a:pt x="4663" y="3320"/>
                </a:lnTo>
                <a:lnTo>
                  <a:pt x="4673" y="3290"/>
                </a:lnTo>
                <a:lnTo>
                  <a:pt x="4681" y="3258"/>
                </a:lnTo>
                <a:lnTo>
                  <a:pt x="4687" y="3228"/>
                </a:lnTo>
                <a:lnTo>
                  <a:pt x="4691" y="3196"/>
                </a:lnTo>
                <a:lnTo>
                  <a:pt x="4695" y="3162"/>
                </a:lnTo>
                <a:lnTo>
                  <a:pt x="4697" y="3130"/>
                </a:lnTo>
                <a:lnTo>
                  <a:pt x="4699" y="3096"/>
                </a:lnTo>
                <a:lnTo>
                  <a:pt x="4699" y="3096"/>
                </a:lnTo>
                <a:lnTo>
                  <a:pt x="4697" y="3058"/>
                </a:lnTo>
                <a:lnTo>
                  <a:pt x="4695" y="3022"/>
                </a:lnTo>
                <a:lnTo>
                  <a:pt x="4689" y="2984"/>
                </a:lnTo>
                <a:lnTo>
                  <a:pt x="4683" y="2948"/>
                </a:lnTo>
                <a:lnTo>
                  <a:pt x="4675" y="2912"/>
                </a:lnTo>
                <a:lnTo>
                  <a:pt x="4665" y="2878"/>
                </a:lnTo>
                <a:lnTo>
                  <a:pt x="4653" y="2844"/>
                </a:lnTo>
                <a:lnTo>
                  <a:pt x="4641" y="2810"/>
                </a:lnTo>
                <a:lnTo>
                  <a:pt x="4625" y="2778"/>
                </a:lnTo>
                <a:lnTo>
                  <a:pt x="4609" y="2746"/>
                </a:lnTo>
                <a:lnTo>
                  <a:pt x="4591" y="2716"/>
                </a:lnTo>
                <a:lnTo>
                  <a:pt x="4573" y="2686"/>
                </a:lnTo>
                <a:lnTo>
                  <a:pt x="4551" y="2656"/>
                </a:lnTo>
                <a:lnTo>
                  <a:pt x="4531" y="2630"/>
                </a:lnTo>
                <a:lnTo>
                  <a:pt x="4507" y="2602"/>
                </a:lnTo>
                <a:lnTo>
                  <a:pt x="4483" y="2576"/>
                </a:lnTo>
                <a:lnTo>
                  <a:pt x="4457" y="2552"/>
                </a:lnTo>
                <a:lnTo>
                  <a:pt x="4431" y="2530"/>
                </a:lnTo>
                <a:lnTo>
                  <a:pt x="4403" y="2508"/>
                </a:lnTo>
                <a:lnTo>
                  <a:pt x="4373" y="2486"/>
                </a:lnTo>
                <a:lnTo>
                  <a:pt x="4343" y="2468"/>
                </a:lnTo>
                <a:lnTo>
                  <a:pt x="4313" y="2450"/>
                </a:lnTo>
                <a:lnTo>
                  <a:pt x="4281" y="2434"/>
                </a:lnTo>
                <a:lnTo>
                  <a:pt x="4249" y="2420"/>
                </a:lnTo>
                <a:lnTo>
                  <a:pt x="4215" y="2406"/>
                </a:lnTo>
                <a:lnTo>
                  <a:pt x="4181" y="2394"/>
                </a:lnTo>
                <a:lnTo>
                  <a:pt x="4147" y="2384"/>
                </a:lnTo>
                <a:lnTo>
                  <a:pt x="4111" y="2376"/>
                </a:lnTo>
                <a:lnTo>
                  <a:pt x="4075" y="2370"/>
                </a:lnTo>
                <a:lnTo>
                  <a:pt x="4037" y="2366"/>
                </a:lnTo>
                <a:lnTo>
                  <a:pt x="4001" y="2362"/>
                </a:lnTo>
                <a:lnTo>
                  <a:pt x="3963" y="2362"/>
                </a:lnTo>
                <a:lnTo>
                  <a:pt x="3963" y="2362"/>
                </a:lnTo>
                <a:lnTo>
                  <a:pt x="3925" y="2362"/>
                </a:lnTo>
                <a:lnTo>
                  <a:pt x="3887" y="2366"/>
                </a:lnTo>
                <a:lnTo>
                  <a:pt x="3851" y="2370"/>
                </a:lnTo>
                <a:lnTo>
                  <a:pt x="3815" y="2376"/>
                </a:lnTo>
                <a:lnTo>
                  <a:pt x="3779" y="2384"/>
                </a:lnTo>
                <a:lnTo>
                  <a:pt x="3745" y="2394"/>
                </a:lnTo>
                <a:lnTo>
                  <a:pt x="3711" y="2406"/>
                </a:lnTo>
                <a:lnTo>
                  <a:pt x="3677" y="2420"/>
                </a:lnTo>
                <a:lnTo>
                  <a:pt x="3645" y="2434"/>
                </a:lnTo>
                <a:lnTo>
                  <a:pt x="3613" y="2450"/>
                </a:lnTo>
                <a:lnTo>
                  <a:pt x="3581" y="2468"/>
                </a:lnTo>
                <a:lnTo>
                  <a:pt x="3553" y="2486"/>
                </a:lnTo>
                <a:lnTo>
                  <a:pt x="3523" y="2508"/>
                </a:lnTo>
                <a:lnTo>
                  <a:pt x="3495" y="2530"/>
                </a:lnTo>
                <a:lnTo>
                  <a:pt x="3469" y="2552"/>
                </a:lnTo>
                <a:lnTo>
                  <a:pt x="3443" y="2576"/>
                </a:lnTo>
                <a:lnTo>
                  <a:pt x="3419" y="2602"/>
                </a:lnTo>
                <a:lnTo>
                  <a:pt x="3395" y="2630"/>
                </a:lnTo>
                <a:lnTo>
                  <a:pt x="3373" y="2656"/>
                </a:lnTo>
                <a:lnTo>
                  <a:pt x="3353" y="2686"/>
                </a:lnTo>
                <a:lnTo>
                  <a:pt x="3334" y="2716"/>
                </a:lnTo>
                <a:lnTo>
                  <a:pt x="3316" y="2746"/>
                </a:lnTo>
                <a:lnTo>
                  <a:pt x="3300" y="2778"/>
                </a:lnTo>
                <a:lnTo>
                  <a:pt x="3284" y="2810"/>
                </a:lnTo>
                <a:lnTo>
                  <a:pt x="3272" y="2844"/>
                </a:lnTo>
                <a:lnTo>
                  <a:pt x="3260" y="2878"/>
                </a:lnTo>
                <a:lnTo>
                  <a:pt x="3250" y="2912"/>
                </a:lnTo>
                <a:lnTo>
                  <a:pt x="3242" y="2948"/>
                </a:lnTo>
                <a:lnTo>
                  <a:pt x="3236" y="2984"/>
                </a:lnTo>
                <a:lnTo>
                  <a:pt x="3230" y="3022"/>
                </a:lnTo>
                <a:lnTo>
                  <a:pt x="3228" y="3058"/>
                </a:lnTo>
                <a:lnTo>
                  <a:pt x="3226" y="3096"/>
                </a:lnTo>
                <a:lnTo>
                  <a:pt x="3226" y="3096"/>
                </a:lnTo>
                <a:lnTo>
                  <a:pt x="3228" y="3130"/>
                </a:lnTo>
                <a:lnTo>
                  <a:pt x="3230" y="3162"/>
                </a:lnTo>
                <a:lnTo>
                  <a:pt x="3234" y="3196"/>
                </a:lnTo>
                <a:lnTo>
                  <a:pt x="3238" y="3228"/>
                </a:lnTo>
                <a:lnTo>
                  <a:pt x="3244" y="3258"/>
                </a:lnTo>
                <a:lnTo>
                  <a:pt x="3252" y="3290"/>
                </a:lnTo>
                <a:lnTo>
                  <a:pt x="3262" y="3320"/>
                </a:lnTo>
                <a:lnTo>
                  <a:pt x="3272" y="3350"/>
                </a:lnTo>
                <a:lnTo>
                  <a:pt x="3284" y="3380"/>
                </a:lnTo>
                <a:lnTo>
                  <a:pt x="3296" y="3408"/>
                </a:lnTo>
                <a:lnTo>
                  <a:pt x="3310" y="3436"/>
                </a:lnTo>
                <a:lnTo>
                  <a:pt x="3326" y="3464"/>
                </a:lnTo>
                <a:lnTo>
                  <a:pt x="3343" y="3490"/>
                </a:lnTo>
                <a:lnTo>
                  <a:pt x="3359" y="3516"/>
                </a:lnTo>
                <a:lnTo>
                  <a:pt x="3379" y="3542"/>
                </a:lnTo>
                <a:lnTo>
                  <a:pt x="3397" y="3566"/>
                </a:lnTo>
                <a:lnTo>
                  <a:pt x="3417" y="3590"/>
                </a:lnTo>
                <a:lnTo>
                  <a:pt x="3439" y="3612"/>
                </a:lnTo>
                <a:lnTo>
                  <a:pt x="3461" y="3634"/>
                </a:lnTo>
                <a:lnTo>
                  <a:pt x="3485" y="3654"/>
                </a:lnTo>
                <a:lnTo>
                  <a:pt x="3509" y="3674"/>
                </a:lnTo>
                <a:lnTo>
                  <a:pt x="3533" y="3692"/>
                </a:lnTo>
                <a:lnTo>
                  <a:pt x="3559" y="3710"/>
                </a:lnTo>
                <a:lnTo>
                  <a:pt x="3585" y="3726"/>
                </a:lnTo>
                <a:lnTo>
                  <a:pt x="3613" y="3742"/>
                </a:lnTo>
                <a:lnTo>
                  <a:pt x="3641" y="3756"/>
                </a:lnTo>
                <a:lnTo>
                  <a:pt x="3669" y="3770"/>
                </a:lnTo>
                <a:lnTo>
                  <a:pt x="3699" y="3782"/>
                </a:lnTo>
                <a:lnTo>
                  <a:pt x="3729" y="3792"/>
                </a:lnTo>
                <a:lnTo>
                  <a:pt x="3759" y="3802"/>
                </a:lnTo>
                <a:lnTo>
                  <a:pt x="3789" y="3810"/>
                </a:lnTo>
                <a:lnTo>
                  <a:pt x="3821" y="3818"/>
                </a:lnTo>
                <a:lnTo>
                  <a:pt x="3821" y="4394"/>
                </a:lnTo>
                <a:lnTo>
                  <a:pt x="3282" y="4858"/>
                </a:lnTo>
                <a:lnTo>
                  <a:pt x="3282" y="6388"/>
                </a:lnTo>
                <a:lnTo>
                  <a:pt x="2948" y="6388"/>
                </a:lnTo>
                <a:lnTo>
                  <a:pt x="2856" y="2456"/>
                </a:lnTo>
                <a:lnTo>
                  <a:pt x="2856" y="2456"/>
                </a:lnTo>
                <a:lnTo>
                  <a:pt x="2888" y="2448"/>
                </a:lnTo>
                <a:lnTo>
                  <a:pt x="2918" y="2440"/>
                </a:lnTo>
                <a:lnTo>
                  <a:pt x="2948" y="2430"/>
                </a:lnTo>
                <a:lnTo>
                  <a:pt x="2978" y="2420"/>
                </a:lnTo>
                <a:lnTo>
                  <a:pt x="3008" y="2408"/>
                </a:lnTo>
                <a:lnTo>
                  <a:pt x="3036" y="2394"/>
                </a:lnTo>
                <a:lnTo>
                  <a:pt x="3064" y="2380"/>
                </a:lnTo>
                <a:lnTo>
                  <a:pt x="3090" y="2364"/>
                </a:lnTo>
                <a:lnTo>
                  <a:pt x="3116" y="2348"/>
                </a:lnTo>
                <a:lnTo>
                  <a:pt x="3142" y="2330"/>
                </a:lnTo>
                <a:lnTo>
                  <a:pt x="3168" y="2310"/>
                </a:lnTo>
                <a:lnTo>
                  <a:pt x="3190" y="2292"/>
                </a:lnTo>
                <a:lnTo>
                  <a:pt x="3214" y="2270"/>
                </a:lnTo>
                <a:lnTo>
                  <a:pt x="3236" y="2248"/>
                </a:lnTo>
                <a:lnTo>
                  <a:pt x="3258" y="2226"/>
                </a:lnTo>
                <a:lnTo>
                  <a:pt x="3278" y="2202"/>
                </a:lnTo>
                <a:lnTo>
                  <a:pt x="3296" y="2178"/>
                </a:lnTo>
                <a:lnTo>
                  <a:pt x="3316" y="2154"/>
                </a:lnTo>
                <a:lnTo>
                  <a:pt x="3332" y="2128"/>
                </a:lnTo>
                <a:lnTo>
                  <a:pt x="3349" y="2102"/>
                </a:lnTo>
                <a:lnTo>
                  <a:pt x="3365" y="2074"/>
                </a:lnTo>
                <a:lnTo>
                  <a:pt x="3379" y="2046"/>
                </a:lnTo>
                <a:lnTo>
                  <a:pt x="3391" y="2016"/>
                </a:lnTo>
                <a:lnTo>
                  <a:pt x="3403" y="1988"/>
                </a:lnTo>
                <a:lnTo>
                  <a:pt x="3413" y="1958"/>
                </a:lnTo>
                <a:lnTo>
                  <a:pt x="3421" y="1928"/>
                </a:lnTo>
                <a:lnTo>
                  <a:pt x="3429" y="1896"/>
                </a:lnTo>
                <a:lnTo>
                  <a:pt x="3435" y="1864"/>
                </a:lnTo>
                <a:lnTo>
                  <a:pt x="3441" y="1832"/>
                </a:lnTo>
                <a:lnTo>
                  <a:pt x="3445" y="1800"/>
                </a:lnTo>
                <a:lnTo>
                  <a:pt x="3447" y="1768"/>
                </a:lnTo>
                <a:lnTo>
                  <a:pt x="3447" y="1734"/>
                </a:lnTo>
                <a:lnTo>
                  <a:pt x="3447" y="1734"/>
                </a:lnTo>
                <a:lnTo>
                  <a:pt x="3447" y="1696"/>
                </a:lnTo>
                <a:lnTo>
                  <a:pt x="3443" y="1660"/>
                </a:lnTo>
                <a:lnTo>
                  <a:pt x="3439" y="1622"/>
                </a:lnTo>
                <a:lnTo>
                  <a:pt x="3433" y="1586"/>
                </a:lnTo>
                <a:lnTo>
                  <a:pt x="3425" y="1552"/>
                </a:lnTo>
                <a:lnTo>
                  <a:pt x="3415" y="1516"/>
                </a:lnTo>
                <a:lnTo>
                  <a:pt x="3403" y="1482"/>
                </a:lnTo>
                <a:lnTo>
                  <a:pt x="3389" y="1448"/>
                </a:lnTo>
                <a:lnTo>
                  <a:pt x="3375" y="1416"/>
                </a:lnTo>
                <a:lnTo>
                  <a:pt x="3359" y="1384"/>
                </a:lnTo>
                <a:lnTo>
                  <a:pt x="3341" y="1354"/>
                </a:lnTo>
                <a:lnTo>
                  <a:pt x="3320" y="1324"/>
                </a:lnTo>
                <a:lnTo>
                  <a:pt x="3300" y="1294"/>
                </a:lnTo>
                <a:lnTo>
                  <a:pt x="3278" y="1268"/>
                </a:lnTo>
                <a:lnTo>
                  <a:pt x="3256" y="1240"/>
                </a:lnTo>
                <a:lnTo>
                  <a:pt x="3230" y="1214"/>
                </a:lnTo>
                <a:lnTo>
                  <a:pt x="3206" y="1190"/>
                </a:lnTo>
                <a:lnTo>
                  <a:pt x="3178" y="1168"/>
                </a:lnTo>
                <a:lnTo>
                  <a:pt x="3150" y="1146"/>
                </a:lnTo>
                <a:lnTo>
                  <a:pt x="3122" y="1126"/>
                </a:lnTo>
                <a:lnTo>
                  <a:pt x="3092" y="1106"/>
                </a:lnTo>
                <a:lnTo>
                  <a:pt x="3062" y="1088"/>
                </a:lnTo>
                <a:lnTo>
                  <a:pt x="3030" y="1072"/>
                </a:lnTo>
                <a:lnTo>
                  <a:pt x="2998" y="1058"/>
                </a:lnTo>
                <a:lnTo>
                  <a:pt x="2964" y="1044"/>
                </a:lnTo>
                <a:lnTo>
                  <a:pt x="2930" y="1032"/>
                </a:lnTo>
                <a:lnTo>
                  <a:pt x="2894" y="1022"/>
                </a:lnTo>
                <a:lnTo>
                  <a:pt x="2860" y="1014"/>
                </a:lnTo>
                <a:lnTo>
                  <a:pt x="2824" y="1008"/>
                </a:lnTo>
                <a:lnTo>
                  <a:pt x="2786" y="1004"/>
                </a:lnTo>
                <a:lnTo>
                  <a:pt x="2750" y="1000"/>
                </a:lnTo>
                <a:lnTo>
                  <a:pt x="2712" y="1000"/>
                </a:lnTo>
                <a:lnTo>
                  <a:pt x="2712" y="1000"/>
                </a:lnTo>
                <a:lnTo>
                  <a:pt x="2674" y="1000"/>
                </a:lnTo>
                <a:lnTo>
                  <a:pt x="2636" y="1004"/>
                </a:lnTo>
                <a:lnTo>
                  <a:pt x="2600" y="1008"/>
                </a:lnTo>
                <a:lnTo>
                  <a:pt x="2564" y="1014"/>
                </a:lnTo>
                <a:lnTo>
                  <a:pt x="2528" y="1022"/>
                </a:lnTo>
                <a:lnTo>
                  <a:pt x="2492" y="1032"/>
                </a:lnTo>
                <a:lnTo>
                  <a:pt x="2458" y="1044"/>
                </a:lnTo>
                <a:lnTo>
                  <a:pt x="2426" y="1058"/>
                </a:lnTo>
                <a:lnTo>
                  <a:pt x="2392" y="1072"/>
                </a:lnTo>
                <a:lnTo>
                  <a:pt x="2362" y="1088"/>
                </a:lnTo>
                <a:lnTo>
                  <a:pt x="2330" y="1106"/>
                </a:lnTo>
                <a:lnTo>
                  <a:pt x="2300" y="1126"/>
                </a:lnTo>
                <a:lnTo>
                  <a:pt x="2272" y="1146"/>
                </a:lnTo>
                <a:lnTo>
                  <a:pt x="2244" y="1168"/>
                </a:lnTo>
                <a:lnTo>
                  <a:pt x="2218" y="1190"/>
                </a:lnTo>
                <a:lnTo>
                  <a:pt x="2192" y="1214"/>
                </a:lnTo>
                <a:lnTo>
                  <a:pt x="2168" y="1240"/>
                </a:lnTo>
                <a:lnTo>
                  <a:pt x="2144" y="1268"/>
                </a:lnTo>
                <a:lnTo>
                  <a:pt x="2122" y="1294"/>
                </a:lnTo>
                <a:lnTo>
                  <a:pt x="2102" y="1324"/>
                </a:lnTo>
                <a:lnTo>
                  <a:pt x="2082" y="1354"/>
                </a:lnTo>
                <a:lnTo>
                  <a:pt x="2066" y="1384"/>
                </a:lnTo>
                <a:lnTo>
                  <a:pt x="2048" y="1416"/>
                </a:lnTo>
                <a:lnTo>
                  <a:pt x="2034" y="1448"/>
                </a:lnTo>
                <a:lnTo>
                  <a:pt x="2020" y="1482"/>
                </a:lnTo>
                <a:lnTo>
                  <a:pt x="2010" y="1516"/>
                </a:lnTo>
                <a:lnTo>
                  <a:pt x="2000" y="1552"/>
                </a:lnTo>
                <a:lnTo>
                  <a:pt x="1992" y="1586"/>
                </a:lnTo>
                <a:lnTo>
                  <a:pt x="1984" y="1622"/>
                </a:lnTo>
                <a:lnTo>
                  <a:pt x="1980" y="1660"/>
                </a:lnTo>
                <a:lnTo>
                  <a:pt x="1978" y="1696"/>
                </a:lnTo>
                <a:lnTo>
                  <a:pt x="1976" y="1734"/>
                </a:lnTo>
                <a:lnTo>
                  <a:pt x="1976" y="1734"/>
                </a:lnTo>
                <a:lnTo>
                  <a:pt x="1976" y="1768"/>
                </a:lnTo>
                <a:lnTo>
                  <a:pt x="1980" y="1800"/>
                </a:lnTo>
                <a:lnTo>
                  <a:pt x="1982" y="1834"/>
                </a:lnTo>
                <a:lnTo>
                  <a:pt x="1988" y="1866"/>
                </a:lnTo>
                <a:lnTo>
                  <a:pt x="1994" y="1898"/>
                </a:lnTo>
                <a:lnTo>
                  <a:pt x="2002" y="1928"/>
                </a:lnTo>
                <a:lnTo>
                  <a:pt x="2012" y="1958"/>
                </a:lnTo>
                <a:lnTo>
                  <a:pt x="2022" y="1990"/>
                </a:lnTo>
                <a:lnTo>
                  <a:pt x="2034" y="2018"/>
                </a:lnTo>
                <a:lnTo>
                  <a:pt x="2046" y="2048"/>
                </a:lnTo>
                <a:lnTo>
                  <a:pt x="2060" y="2076"/>
                </a:lnTo>
                <a:lnTo>
                  <a:pt x="2076" y="2102"/>
                </a:lnTo>
                <a:lnTo>
                  <a:pt x="2092" y="2130"/>
                </a:lnTo>
                <a:lnTo>
                  <a:pt x="2110" y="2156"/>
                </a:lnTo>
                <a:lnTo>
                  <a:pt x="2128" y="2180"/>
                </a:lnTo>
                <a:lnTo>
                  <a:pt x="2146" y="2204"/>
                </a:lnTo>
                <a:lnTo>
                  <a:pt x="2168" y="2228"/>
                </a:lnTo>
                <a:lnTo>
                  <a:pt x="2188" y="2252"/>
                </a:lnTo>
                <a:lnTo>
                  <a:pt x="2212" y="2272"/>
                </a:lnTo>
                <a:lnTo>
                  <a:pt x="2234" y="2294"/>
                </a:lnTo>
                <a:lnTo>
                  <a:pt x="2258" y="2314"/>
                </a:lnTo>
                <a:lnTo>
                  <a:pt x="2284" y="2332"/>
                </a:lnTo>
                <a:lnTo>
                  <a:pt x="2310" y="2350"/>
                </a:lnTo>
                <a:lnTo>
                  <a:pt x="2336" y="2366"/>
                </a:lnTo>
                <a:lnTo>
                  <a:pt x="2364" y="2382"/>
                </a:lnTo>
                <a:lnTo>
                  <a:pt x="2392" y="2396"/>
                </a:lnTo>
                <a:lnTo>
                  <a:pt x="2420" y="2410"/>
                </a:lnTo>
                <a:lnTo>
                  <a:pt x="2450" y="2422"/>
                </a:lnTo>
                <a:lnTo>
                  <a:pt x="2480" y="2432"/>
                </a:lnTo>
                <a:lnTo>
                  <a:pt x="2510" y="2442"/>
                </a:lnTo>
                <a:lnTo>
                  <a:pt x="2540" y="2450"/>
                </a:lnTo>
                <a:lnTo>
                  <a:pt x="2572" y="2456"/>
                </a:lnTo>
                <a:lnTo>
                  <a:pt x="2662" y="6388"/>
                </a:lnTo>
                <a:lnTo>
                  <a:pt x="2332" y="6388"/>
                </a:lnTo>
                <a:lnTo>
                  <a:pt x="2332" y="4562"/>
                </a:lnTo>
                <a:lnTo>
                  <a:pt x="1724" y="3834"/>
                </a:lnTo>
                <a:lnTo>
                  <a:pt x="1724" y="3834"/>
                </a:lnTo>
                <a:lnTo>
                  <a:pt x="1774" y="3812"/>
                </a:lnTo>
                <a:lnTo>
                  <a:pt x="1824" y="3786"/>
                </a:lnTo>
                <a:lnTo>
                  <a:pt x="1870" y="3758"/>
                </a:lnTo>
                <a:lnTo>
                  <a:pt x="1914" y="3726"/>
                </a:lnTo>
                <a:lnTo>
                  <a:pt x="1956" y="3690"/>
                </a:lnTo>
                <a:lnTo>
                  <a:pt x="1994" y="3652"/>
                </a:lnTo>
                <a:lnTo>
                  <a:pt x="2030" y="3612"/>
                </a:lnTo>
                <a:lnTo>
                  <a:pt x="2064" y="3568"/>
                </a:lnTo>
                <a:lnTo>
                  <a:pt x="2092" y="3522"/>
                </a:lnTo>
                <a:lnTo>
                  <a:pt x="2120" y="3474"/>
                </a:lnTo>
                <a:lnTo>
                  <a:pt x="2142" y="3424"/>
                </a:lnTo>
                <a:lnTo>
                  <a:pt x="2160" y="3372"/>
                </a:lnTo>
                <a:lnTo>
                  <a:pt x="2176" y="3318"/>
                </a:lnTo>
                <a:lnTo>
                  <a:pt x="2188" y="3262"/>
                </a:lnTo>
                <a:lnTo>
                  <a:pt x="2194" y="3206"/>
                </a:lnTo>
                <a:lnTo>
                  <a:pt x="2196" y="3148"/>
                </a:lnTo>
                <a:lnTo>
                  <a:pt x="2196" y="3148"/>
                </a:lnTo>
                <a:lnTo>
                  <a:pt x="2196" y="3110"/>
                </a:lnTo>
                <a:lnTo>
                  <a:pt x="2192" y="3072"/>
                </a:lnTo>
                <a:lnTo>
                  <a:pt x="2188" y="3036"/>
                </a:lnTo>
                <a:lnTo>
                  <a:pt x="2182" y="3000"/>
                </a:lnTo>
                <a:lnTo>
                  <a:pt x="2172" y="2964"/>
                </a:lnTo>
                <a:lnTo>
                  <a:pt x="2162" y="2930"/>
                </a:lnTo>
                <a:lnTo>
                  <a:pt x="2152" y="2896"/>
                </a:lnTo>
                <a:lnTo>
                  <a:pt x="2138" y="2862"/>
                </a:lnTo>
                <a:lnTo>
                  <a:pt x="2124" y="2830"/>
                </a:lnTo>
                <a:lnTo>
                  <a:pt x="2108" y="2798"/>
                </a:lnTo>
                <a:lnTo>
                  <a:pt x="2090" y="2766"/>
                </a:lnTo>
                <a:lnTo>
                  <a:pt x="2070" y="2738"/>
                </a:lnTo>
                <a:lnTo>
                  <a:pt x="2050" y="2708"/>
                </a:lnTo>
                <a:lnTo>
                  <a:pt x="2028" y="2680"/>
                </a:lnTo>
                <a:lnTo>
                  <a:pt x="2004" y="2654"/>
                </a:lnTo>
                <a:lnTo>
                  <a:pt x="1980" y="2628"/>
                </a:lnTo>
                <a:lnTo>
                  <a:pt x="1954" y="2604"/>
                </a:lnTo>
                <a:lnTo>
                  <a:pt x="1928" y="2580"/>
                </a:lnTo>
                <a:lnTo>
                  <a:pt x="1900" y="2558"/>
                </a:lnTo>
                <a:lnTo>
                  <a:pt x="1872" y="2538"/>
                </a:lnTo>
                <a:lnTo>
                  <a:pt x="1842" y="2520"/>
                </a:lnTo>
                <a:lnTo>
                  <a:pt x="1810" y="2502"/>
                </a:lnTo>
                <a:lnTo>
                  <a:pt x="1780" y="2486"/>
                </a:lnTo>
                <a:lnTo>
                  <a:pt x="1746" y="2470"/>
                </a:lnTo>
                <a:lnTo>
                  <a:pt x="1714" y="2458"/>
                </a:lnTo>
                <a:lnTo>
                  <a:pt x="1680" y="2446"/>
                </a:lnTo>
                <a:lnTo>
                  <a:pt x="1644" y="2436"/>
                </a:lnTo>
                <a:lnTo>
                  <a:pt x="1608" y="2428"/>
                </a:lnTo>
                <a:lnTo>
                  <a:pt x="1572" y="2422"/>
                </a:lnTo>
                <a:lnTo>
                  <a:pt x="1536" y="2416"/>
                </a:lnTo>
                <a:lnTo>
                  <a:pt x="1498" y="2414"/>
                </a:lnTo>
                <a:lnTo>
                  <a:pt x="1460" y="2412"/>
                </a:lnTo>
                <a:lnTo>
                  <a:pt x="1460" y="2412"/>
                </a:lnTo>
                <a:lnTo>
                  <a:pt x="1424" y="2414"/>
                </a:lnTo>
                <a:lnTo>
                  <a:pt x="1386" y="2416"/>
                </a:lnTo>
                <a:lnTo>
                  <a:pt x="1348" y="2422"/>
                </a:lnTo>
                <a:lnTo>
                  <a:pt x="1312" y="2428"/>
                </a:lnTo>
                <a:lnTo>
                  <a:pt x="1278" y="2436"/>
                </a:lnTo>
                <a:lnTo>
                  <a:pt x="1242" y="2446"/>
                </a:lnTo>
                <a:lnTo>
                  <a:pt x="1208" y="2458"/>
                </a:lnTo>
                <a:lnTo>
                  <a:pt x="1174" y="2470"/>
                </a:lnTo>
                <a:lnTo>
                  <a:pt x="1142" y="2486"/>
                </a:lnTo>
                <a:lnTo>
                  <a:pt x="1110" y="2502"/>
                </a:lnTo>
                <a:lnTo>
                  <a:pt x="1080" y="2520"/>
                </a:lnTo>
                <a:lnTo>
                  <a:pt x="1050" y="2538"/>
                </a:lnTo>
                <a:lnTo>
                  <a:pt x="1022" y="2558"/>
                </a:lnTo>
                <a:lnTo>
                  <a:pt x="994" y="2580"/>
                </a:lnTo>
                <a:lnTo>
                  <a:pt x="966" y="2604"/>
                </a:lnTo>
                <a:lnTo>
                  <a:pt x="942" y="2628"/>
                </a:lnTo>
                <a:lnTo>
                  <a:pt x="916" y="2654"/>
                </a:lnTo>
                <a:lnTo>
                  <a:pt x="894" y="2680"/>
                </a:lnTo>
                <a:lnTo>
                  <a:pt x="872" y="2708"/>
                </a:lnTo>
                <a:lnTo>
                  <a:pt x="852" y="2738"/>
                </a:lnTo>
                <a:lnTo>
                  <a:pt x="832" y="2766"/>
                </a:lnTo>
                <a:lnTo>
                  <a:pt x="814" y="2798"/>
                </a:lnTo>
                <a:lnTo>
                  <a:pt x="798" y="2830"/>
                </a:lnTo>
                <a:lnTo>
                  <a:pt x="784" y="2862"/>
                </a:lnTo>
                <a:lnTo>
                  <a:pt x="770" y="2896"/>
                </a:lnTo>
                <a:lnTo>
                  <a:pt x="758" y="2930"/>
                </a:lnTo>
                <a:lnTo>
                  <a:pt x="748" y="2964"/>
                </a:lnTo>
                <a:lnTo>
                  <a:pt x="740" y="3000"/>
                </a:lnTo>
                <a:lnTo>
                  <a:pt x="734" y="3036"/>
                </a:lnTo>
                <a:lnTo>
                  <a:pt x="730" y="3072"/>
                </a:lnTo>
                <a:lnTo>
                  <a:pt x="726" y="3110"/>
                </a:lnTo>
                <a:lnTo>
                  <a:pt x="726" y="3148"/>
                </a:lnTo>
                <a:lnTo>
                  <a:pt x="726" y="3148"/>
                </a:lnTo>
                <a:lnTo>
                  <a:pt x="726" y="3184"/>
                </a:lnTo>
                <a:lnTo>
                  <a:pt x="730" y="3218"/>
                </a:lnTo>
                <a:lnTo>
                  <a:pt x="734" y="3254"/>
                </a:lnTo>
                <a:lnTo>
                  <a:pt x="738" y="3288"/>
                </a:lnTo>
                <a:lnTo>
                  <a:pt x="746" y="3322"/>
                </a:lnTo>
                <a:lnTo>
                  <a:pt x="756" y="3354"/>
                </a:lnTo>
                <a:lnTo>
                  <a:pt x="766" y="3386"/>
                </a:lnTo>
                <a:lnTo>
                  <a:pt x="778" y="3418"/>
                </a:lnTo>
                <a:lnTo>
                  <a:pt x="790" y="3450"/>
                </a:lnTo>
                <a:lnTo>
                  <a:pt x="804" y="3480"/>
                </a:lnTo>
                <a:lnTo>
                  <a:pt x="820" y="3510"/>
                </a:lnTo>
                <a:lnTo>
                  <a:pt x="838" y="3538"/>
                </a:lnTo>
                <a:lnTo>
                  <a:pt x="856" y="3566"/>
                </a:lnTo>
                <a:lnTo>
                  <a:pt x="876" y="3592"/>
                </a:lnTo>
                <a:lnTo>
                  <a:pt x="896" y="3618"/>
                </a:lnTo>
                <a:lnTo>
                  <a:pt x="918" y="3644"/>
                </a:lnTo>
                <a:lnTo>
                  <a:pt x="942" y="3668"/>
                </a:lnTo>
                <a:lnTo>
                  <a:pt x="966" y="3690"/>
                </a:lnTo>
                <a:lnTo>
                  <a:pt x="990" y="3712"/>
                </a:lnTo>
                <a:lnTo>
                  <a:pt x="1016" y="3734"/>
                </a:lnTo>
                <a:lnTo>
                  <a:pt x="1044" y="3752"/>
                </a:lnTo>
                <a:lnTo>
                  <a:pt x="1072" y="3772"/>
                </a:lnTo>
                <a:lnTo>
                  <a:pt x="1100" y="3788"/>
                </a:lnTo>
                <a:lnTo>
                  <a:pt x="1130" y="3804"/>
                </a:lnTo>
                <a:lnTo>
                  <a:pt x="1160" y="3818"/>
                </a:lnTo>
                <a:lnTo>
                  <a:pt x="1192" y="3832"/>
                </a:lnTo>
                <a:lnTo>
                  <a:pt x="1224" y="3844"/>
                </a:lnTo>
                <a:lnTo>
                  <a:pt x="1256" y="3854"/>
                </a:lnTo>
                <a:lnTo>
                  <a:pt x="1288" y="3862"/>
                </a:lnTo>
                <a:lnTo>
                  <a:pt x="1322" y="3870"/>
                </a:lnTo>
                <a:lnTo>
                  <a:pt x="1356" y="3876"/>
                </a:lnTo>
                <a:lnTo>
                  <a:pt x="1392" y="3880"/>
                </a:lnTo>
                <a:lnTo>
                  <a:pt x="2048" y="4666"/>
                </a:lnTo>
                <a:lnTo>
                  <a:pt x="2048" y="6388"/>
                </a:lnTo>
                <a:lnTo>
                  <a:pt x="284" y="6388"/>
                </a:lnTo>
                <a:lnTo>
                  <a:pt x="284" y="284"/>
                </a:lnTo>
                <a:lnTo>
                  <a:pt x="6389" y="284"/>
                </a:lnTo>
                <a:lnTo>
                  <a:pt x="6389" y="6388"/>
                </a:lnTo>
                <a:close/>
                <a:moveTo>
                  <a:pt x="5213" y="2314"/>
                </a:moveTo>
                <a:lnTo>
                  <a:pt x="5213" y="2314"/>
                </a:lnTo>
                <a:lnTo>
                  <a:pt x="5167" y="2312"/>
                </a:lnTo>
                <a:lnTo>
                  <a:pt x="5123" y="2304"/>
                </a:lnTo>
                <a:lnTo>
                  <a:pt x="5079" y="2294"/>
                </a:lnTo>
                <a:lnTo>
                  <a:pt x="5039" y="2278"/>
                </a:lnTo>
                <a:lnTo>
                  <a:pt x="4999" y="2260"/>
                </a:lnTo>
                <a:lnTo>
                  <a:pt x="4961" y="2236"/>
                </a:lnTo>
                <a:lnTo>
                  <a:pt x="4927" y="2210"/>
                </a:lnTo>
                <a:lnTo>
                  <a:pt x="4895" y="2182"/>
                </a:lnTo>
                <a:lnTo>
                  <a:pt x="4865" y="2150"/>
                </a:lnTo>
                <a:lnTo>
                  <a:pt x="4839" y="2114"/>
                </a:lnTo>
                <a:lnTo>
                  <a:pt x="4817" y="2078"/>
                </a:lnTo>
                <a:lnTo>
                  <a:pt x="4799" y="2038"/>
                </a:lnTo>
                <a:lnTo>
                  <a:pt x="4783" y="1996"/>
                </a:lnTo>
                <a:lnTo>
                  <a:pt x="4771" y="1954"/>
                </a:lnTo>
                <a:lnTo>
                  <a:pt x="4765" y="1910"/>
                </a:lnTo>
                <a:lnTo>
                  <a:pt x="4763" y="1864"/>
                </a:lnTo>
                <a:lnTo>
                  <a:pt x="4763" y="1864"/>
                </a:lnTo>
                <a:lnTo>
                  <a:pt x="4765" y="1818"/>
                </a:lnTo>
                <a:lnTo>
                  <a:pt x="4771" y="1772"/>
                </a:lnTo>
                <a:lnTo>
                  <a:pt x="4783" y="1730"/>
                </a:lnTo>
                <a:lnTo>
                  <a:pt x="4799" y="1688"/>
                </a:lnTo>
                <a:lnTo>
                  <a:pt x="4817" y="1648"/>
                </a:lnTo>
                <a:lnTo>
                  <a:pt x="4839" y="1612"/>
                </a:lnTo>
                <a:lnTo>
                  <a:pt x="4865" y="1576"/>
                </a:lnTo>
                <a:lnTo>
                  <a:pt x="4895" y="1544"/>
                </a:lnTo>
                <a:lnTo>
                  <a:pt x="4927" y="1516"/>
                </a:lnTo>
                <a:lnTo>
                  <a:pt x="4961" y="1490"/>
                </a:lnTo>
                <a:lnTo>
                  <a:pt x="4999" y="1466"/>
                </a:lnTo>
                <a:lnTo>
                  <a:pt x="5039" y="1448"/>
                </a:lnTo>
                <a:lnTo>
                  <a:pt x="5079" y="1432"/>
                </a:lnTo>
                <a:lnTo>
                  <a:pt x="5123" y="1422"/>
                </a:lnTo>
                <a:lnTo>
                  <a:pt x="5167" y="1414"/>
                </a:lnTo>
                <a:lnTo>
                  <a:pt x="5213" y="1412"/>
                </a:lnTo>
                <a:lnTo>
                  <a:pt x="5213" y="1412"/>
                </a:lnTo>
                <a:lnTo>
                  <a:pt x="5259" y="1414"/>
                </a:lnTo>
                <a:lnTo>
                  <a:pt x="5305" y="1422"/>
                </a:lnTo>
                <a:lnTo>
                  <a:pt x="5347" y="1432"/>
                </a:lnTo>
                <a:lnTo>
                  <a:pt x="5389" y="1448"/>
                </a:lnTo>
                <a:lnTo>
                  <a:pt x="5429" y="1466"/>
                </a:lnTo>
                <a:lnTo>
                  <a:pt x="5465" y="1490"/>
                </a:lnTo>
                <a:lnTo>
                  <a:pt x="5499" y="1516"/>
                </a:lnTo>
                <a:lnTo>
                  <a:pt x="5531" y="1544"/>
                </a:lnTo>
                <a:lnTo>
                  <a:pt x="5561" y="1576"/>
                </a:lnTo>
                <a:lnTo>
                  <a:pt x="5587" y="1612"/>
                </a:lnTo>
                <a:lnTo>
                  <a:pt x="5609" y="1648"/>
                </a:lnTo>
                <a:lnTo>
                  <a:pt x="5629" y="1688"/>
                </a:lnTo>
                <a:lnTo>
                  <a:pt x="5643" y="1730"/>
                </a:lnTo>
                <a:lnTo>
                  <a:pt x="5655" y="1772"/>
                </a:lnTo>
                <a:lnTo>
                  <a:pt x="5661" y="1818"/>
                </a:lnTo>
                <a:lnTo>
                  <a:pt x="5665" y="1864"/>
                </a:lnTo>
                <a:lnTo>
                  <a:pt x="5665" y="1864"/>
                </a:lnTo>
                <a:lnTo>
                  <a:pt x="5661" y="1910"/>
                </a:lnTo>
                <a:lnTo>
                  <a:pt x="5655" y="1954"/>
                </a:lnTo>
                <a:lnTo>
                  <a:pt x="5643" y="1996"/>
                </a:lnTo>
                <a:lnTo>
                  <a:pt x="5629" y="2038"/>
                </a:lnTo>
                <a:lnTo>
                  <a:pt x="5609" y="2078"/>
                </a:lnTo>
                <a:lnTo>
                  <a:pt x="5587" y="2114"/>
                </a:lnTo>
                <a:lnTo>
                  <a:pt x="5561" y="2150"/>
                </a:lnTo>
                <a:lnTo>
                  <a:pt x="5531" y="2182"/>
                </a:lnTo>
                <a:lnTo>
                  <a:pt x="5499" y="2210"/>
                </a:lnTo>
                <a:lnTo>
                  <a:pt x="5465" y="2236"/>
                </a:lnTo>
                <a:lnTo>
                  <a:pt x="5429" y="2260"/>
                </a:lnTo>
                <a:lnTo>
                  <a:pt x="5389" y="2278"/>
                </a:lnTo>
                <a:lnTo>
                  <a:pt x="5347" y="2294"/>
                </a:lnTo>
                <a:lnTo>
                  <a:pt x="5305" y="2304"/>
                </a:lnTo>
                <a:lnTo>
                  <a:pt x="5259" y="2312"/>
                </a:lnTo>
                <a:lnTo>
                  <a:pt x="5213" y="2314"/>
                </a:lnTo>
                <a:lnTo>
                  <a:pt x="5213" y="2314"/>
                </a:lnTo>
                <a:close/>
                <a:moveTo>
                  <a:pt x="3963" y="3548"/>
                </a:moveTo>
                <a:lnTo>
                  <a:pt x="3963" y="3548"/>
                </a:lnTo>
                <a:lnTo>
                  <a:pt x="3917" y="3544"/>
                </a:lnTo>
                <a:lnTo>
                  <a:pt x="3873" y="3538"/>
                </a:lnTo>
                <a:lnTo>
                  <a:pt x="3829" y="3526"/>
                </a:lnTo>
                <a:lnTo>
                  <a:pt x="3787" y="3512"/>
                </a:lnTo>
                <a:lnTo>
                  <a:pt x="3749" y="3492"/>
                </a:lnTo>
                <a:lnTo>
                  <a:pt x="3711" y="3470"/>
                </a:lnTo>
                <a:lnTo>
                  <a:pt x="3677" y="3444"/>
                </a:lnTo>
                <a:lnTo>
                  <a:pt x="3645" y="3414"/>
                </a:lnTo>
                <a:lnTo>
                  <a:pt x="3615" y="3382"/>
                </a:lnTo>
                <a:lnTo>
                  <a:pt x="3589" y="3348"/>
                </a:lnTo>
                <a:lnTo>
                  <a:pt x="3567" y="3312"/>
                </a:lnTo>
                <a:lnTo>
                  <a:pt x="3547" y="3272"/>
                </a:lnTo>
                <a:lnTo>
                  <a:pt x="3533" y="3230"/>
                </a:lnTo>
                <a:lnTo>
                  <a:pt x="3521" y="3188"/>
                </a:lnTo>
                <a:lnTo>
                  <a:pt x="3515" y="3142"/>
                </a:lnTo>
                <a:lnTo>
                  <a:pt x="3513" y="3096"/>
                </a:lnTo>
                <a:lnTo>
                  <a:pt x="3513" y="3096"/>
                </a:lnTo>
                <a:lnTo>
                  <a:pt x="3515" y="3050"/>
                </a:lnTo>
                <a:lnTo>
                  <a:pt x="3521" y="3006"/>
                </a:lnTo>
                <a:lnTo>
                  <a:pt x="3533" y="2962"/>
                </a:lnTo>
                <a:lnTo>
                  <a:pt x="3547" y="2922"/>
                </a:lnTo>
                <a:lnTo>
                  <a:pt x="3567" y="2882"/>
                </a:lnTo>
                <a:lnTo>
                  <a:pt x="3589" y="2844"/>
                </a:lnTo>
                <a:lnTo>
                  <a:pt x="3615" y="2810"/>
                </a:lnTo>
                <a:lnTo>
                  <a:pt x="3645" y="2778"/>
                </a:lnTo>
                <a:lnTo>
                  <a:pt x="3677" y="2748"/>
                </a:lnTo>
                <a:lnTo>
                  <a:pt x="3711" y="2722"/>
                </a:lnTo>
                <a:lnTo>
                  <a:pt x="3749" y="2700"/>
                </a:lnTo>
                <a:lnTo>
                  <a:pt x="3787" y="2682"/>
                </a:lnTo>
                <a:lnTo>
                  <a:pt x="3829" y="2666"/>
                </a:lnTo>
                <a:lnTo>
                  <a:pt x="3873" y="2654"/>
                </a:lnTo>
                <a:lnTo>
                  <a:pt x="3917" y="2648"/>
                </a:lnTo>
                <a:lnTo>
                  <a:pt x="3963" y="2646"/>
                </a:lnTo>
                <a:lnTo>
                  <a:pt x="3963" y="2646"/>
                </a:lnTo>
                <a:lnTo>
                  <a:pt x="4009" y="2648"/>
                </a:lnTo>
                <a:lnTo>
                  <a:pt x="4053" y="2654"/>
                </a:lnTo>
                <a:lnTo>
                  <a:pt x="4097" y="2666"/>
                </a:lnTo>
                <a:lnTo>
                  <a:pt x="4139" y="2682"/>
                </a:lnTo>
                <a:lnTo>
                  <a:pt x="4177" y="2700"/>
                </a:lnTo>
                <a:lnTo>
                  <a:pt x="4215" y="2722"/>
                </a:lnTo>
                <a:lnTo>
                  <a:pt x="4249" y="2748"/>
                </a:lnTo>
                <a:lnTo>
                  <a:pt x="4281" y="2778"/>
                </a:lnTo>
                <a:lnTo>
                  <a:pt x="4311" y="2810"/>
                </a:lnTo>
                <a:lnTo>
                  <a:pt x="4337" y="2844"/>
                </a:lnTo>
                <a:lnTo>
                  <a:pt x="4359" y="2882"/>
                </a:lnTo>
                <a:lnTo>
                  <a:pt x="4379" y="2922"/>
                </a:lnTo>
                <a:lnTo>
                  <a:pt x="4393" y="2962"/>
                </a:lnTo>
                <a:lnTo>
                  <a:pt x="4405" y="3006"/>
                </a:lnTo>
                <a:lnTo>
                  <a:pt x="4411" y="3050"/>
                </a:lnTo>
                <a:lnTo>
                  <a:pt x="4413" y="3096"/>
                </a:lnTo>
                <a:lnTo>
                  <a:pt x="4413" y="3096"/>
                </a:lnTo>
                <a:lnTo>
                  <a:pt x="4411" y="3142"/>
                </a:lnTo>
                <a:lnTo>
                  <a:pt x="4405" y="3188"/>
                </a:lnTo>
                <a:lnTo>
                  <a:pt x="4393" y="3230"/>
                </a:lnTo>
                <a:lnTo>
                  <a:pt x="4379" y="3272"/>
                </a:lnTo>
                <a:lnTo>
                  <a:pt x="4359" y="3312"/>
                </a:lnTo>
                <a:lnTo>
                  <a:pt x="4337" y="3348"/>
                </a:lnTo>
                <a:lnTo>
                  <a:pt x="4311" y="3382"/>
                </a:lnTo>
                <a:lnTo>
                  <a:pt x="4281" y="3414"/>
                </a:lnTo>
                <a:lnTo>
                  <a:pt x="4249" y="3444"/>
                </a:lnTo>
                <a:lnTo>
                  <a:pt x="4215" y="3470"/>
                </a:lnTo>
                <a:lnTo>
                  <a:pt x="4177" y="3492"/>
                </a:lnTo>
                <a:lnTo>
                  <a:pt x="4139" y="3512"/>
                </a:lnTo>
                <a:lnTo>
                  <a:pt x="4097" y="3526"/>
                </a:lnTo>
                <a:lnTo>
                  <a:pt x="4053" y="3538"/>
                </a:lnTo>
                <a:lnTo>
                  <a:pt x="4009" y="3544"/>
                </a:lnTo>
                <a:lnTo>
                  <a:pt x="3963" y="3548"/>
                </a:lnTo>
                <a:lnTo>
                  <a:pt x="3963" y="3548"/>
                </a:lnTo>
                <a:close/>
                <a:moveTo>
                  <a:pt x="1010" y="3148"/>
                </a:moveTo>
                <a:lnTo>
                  <a:pt x="1010" y="3148"/>
                </a:lnTo>
                <a:lnTo>
                  <a:pt x="1012" y="3102"/>
                </a:lnTo>
                <a:lnTo>
                  <a:pt x="1020" y="3058"/>
                </a:lnTo>
                <a:lnTo>
                  <a:pt x="1030" y="3014"/>
                </a:lnTo>
                <a:lnTo>
                  <a:pt x="1046" y="2972"/>
                </a:lnTo>
                <a:lnTo>
                  <a:pt x="1064" y="2934"/>
                </a:lnTo>
                <a:lnTo>
                  <a:pt x="1088" y="2896"/>
                </a:lnTo>
                <a:lnTo>
                  <a:pt x="1114" y="2862"/>
                </a:lnTo>
                <a:lnTo>
                  <a:pt x="1142" y="2830"/>
                </a:lnTo>
                <a:lnTo>
                  <a:pt x="1174" y="2800"/>
                </a:lnTo>
                <a:lnTo>
                  <a:pt x="1210" y="2774"/>
                </a:lnTo>
                <a:lnTo>
                  <a:pt x="1246" y="2752"/>
                </a:lnTo>
                <a:lnTo>
                  <a:pt x="1286" y="2732"/>
                </a:lnTo>
                <a:lnTo>
                  <a:pt x="1326" y="2718"/>
                </a:lnTo>
                <a:lnTo>
                  <a:pt x="1370" y="2706"/>
                </a:lnTo>
                <a:lnTo>
                  <a:pt x="1414" y="2700"/>
                </a:lnTo>
                <a:lnTo>
                  <a:pt x="1460" y="2698"/>
                </a:lnTo>
                <a:lnTo>
                  <a:pt x="1460" y="2698"/>
                </a:lnTo>
                <a:lnTo>
                  <a:pt x="1506" y="2700"/>
                </a:lnTo>
                <a:lnTo>
                  <a:pt x="1552" y="2706"/>
                </a:lnTo>
                <a:lnTo>
                  <a:pt x="1594" y="2718"/>
                </a:lnTo>
                <a:lnTo>
                  <a:pt x="1636" y="2732"/>
                </a:lnTo>
                <a:lnTo>
                  <a:pt x="1676" y="2752"/>
                </a:lnTo>
                <a:lnTo>
                  <a:pt x="1712" y="2774"/>
                </a:lnTo>
                <a:lnTo>
                  <a:pt x="1748" y="2800"/>
                </a:lnTo>
                <a:lnTo>
                  <a:pt x="1780" y="2830"/>
                </a:lnTo>
                <a:lnTo>
                  <a:pt x="1808" y="2862"/>
                </a:lnTo>
                <a:lnTo>
                  <a:pt x="1834" y="2896"/>
                </a:lnTo>
                <a:lnTo>
                  <a:pt x="1856" y="2934"/>
                </a:lnTo>
                <a:lnTo>
                  <a:pt x="1876" y="2972"/>
                </a:lnTo>
                <a:lnTo>
                  <a:pt x="1892" y="3014"/>
                </a:lnTo>
                <a:lnTo>
                  <a:pt x="1902" y="3058"/>
                </a:lnTo>
                <a:lnTo>
                  <a:pt x="1910" y="3102"/>
                </a:lnTo>
                <a:lnTo>
                  <a:pt x="1912" y="3148"/>
                </a:lnTo>
                <a:lnTo>
                  <a:pt x="1912" y="3148"/>
                </a:lnTo>
                <a:lnTo>
                  <a:pt x="1910" y="3194"/>
                </a:lnTo>
                <a:lnTo>
                  <a:pt x="1902" y="3238"/>
                </a:lnTo>
                <a:lnTo>
                  <a:pt x="1892" y="3282"/>
                </a:lnTo>
                <a:lnTo>
                  <a:pt x="1876" y="3324"/>
                </a:lnTo>
                <a:lnTo>
                  <a:pt x="1856" y="3362"/>
                </a:lnTo>
                <a:lnTo>
                  <a:pt x="1834" y="3400"/>
                </a:lnTo>
                <a:lnTo>
                  <a:pt x="1808" y="3434"/>
                </a:lnTo>
                <a:lnTo>
                  <a:pt x="1780" y="3466"/>
                </a:lnTo>
                <a:lnTo>
                  <a:pt x="1748" y="3496"/>
                </a:lnTo>
                <a:lnTo>
                  <a:pt x="1712" y="3522"/>
                </a:lnTo>
                <a:lnTo>
                  <a:pt x="1676" y="3544"/>
                </a:lnTo>
                <a:lnTo>
                  <a:pt x="1636" y="3564"/>
                </a:lnTo>
                <a:lnTo>
                  <a:pt x="1594" y="3578"/>
                </a:lnTo>
                <a:lnTo>
                  <a:pt x="1552" y="3590"/>
                </a:lnTo>
                <a:lnTo>
                  <a:pt x="1506" y="3596"/>
                </a:lnTo>
                <a:lnTo>
                  <a:pt x="1460" y="3598"/>
                </a:lnTo>
                <a:lnTo>
                  <a:pt x="1460" y="3598"/>
                </a:lnTo>
                <a:lnTo>
                  <a:pt x="1414" y="3596"/>
                </a:lnTo>
                <a:lnTo>
                  <a:pt x="1370" y="3590"/>
                </a:lnTo>
                <a:lnTo>
                  <a:pt x="1326" y="3578"/>
                </a:lnTo>
                <a:lnTo>
                  <a:pt x="1286" y="3564"/>
                </a:lnTo>
                <a:lnTo>
                  <a:pt x="1246" y="3544"/>
                </a:lnTo>
                <a:lnTo>
                  <a:pt x="1210" y="3522"/>
                </a:lnTo>
                <a:lnTo>
                  <a:pt x="1174" y="3496"/>
                </a:lnTo>
                <a:lnTo>
                  <a:pt x="1142" y="3466"/>
                </a:lnTo>
                <a:lnTo>
                  <a:pt x="1114" y="3434"/>
                </a:lnTo>
                <a:lnTo>
                  <a:pt x="1088" y="3400"/>
                </a:lnTo>
                <a:lnTo>
                  <a:pt x="1064" y="3362"/>
                </a:lnTo>
                <a:lnTo>
                  <a:pt x="1046" y="3324"/>
                </a:lnTo>
                <a:lnTo>
                  <a:pt x="1030" y="3282"/>
                </a:lnTo>
                <a:lnTo>
                  <a:pt x="1020" y="3238"/>
                </a:lnTo>
                <a:lnTo>
                  <a:pt x="1012" y="3194"/>
                </a:lnTo>
                <a:lnTo>
                  <a:pt x="1010" y="3148"/>
                </a:lnTo>
                <a:lnTo>
                  <a:pt x="1010" y="3148"/>
                </a:lnTo>
                <a:close/>
              </a:path>
            </a:pathLst>
          </a:custGeom>
          <a:solidFill>
            <a:schemeClr val="accent4">
              <a:lumMod val="50000"/>
            </a:schemeClr>
          </a:solid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sz="12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4" name="Google Shape;3899;p94">
            <a:extLst>
              <a:ext uri="{FF2B5EF4-FFF2-40B4-BE49-F238E27FC236}">
                <a16:creationId xmlns:a16="http://schemas.microsoft.com/office/drawing/2014/main" id="{D5E8B45E-E950-48AC-A67F-80751FC56371}"/>
              </a:ext>
            </a:extLst>
          </p:cNvPr>
          <p:cNvSpPr/>
          <p:nvPr/>
        </p:nvSpPr>
        <p:spPr>
          <a:xfrm>
            <a:off x="2740949" y="2615033"/>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 从</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评估到行动计划的延迟（从JEE到NAPHS</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超过</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400天）</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 </a:t>
            </a:r>
          </a:p>
        </p:txBody>
      </p:sp>
      <p:sp>
        <p:nvSpPr>
          <p:cNvPr id="115" name="Google Shape;3899;p94">
            <a:extLst>
              <a:ext uri="{FF2B5EF4-FFF2-40B4-BE49-F238E27FC236}">
                <a16:creationId xmlns:a16="http://schemas.microsoft.com/office/drawing/2014/main" id="{35532880-1AB8-42E4-AE21-A94B31C5C730}"/>
              </a:ext>
            </a:extLst>
          </p:cNvPr>
          <p:cNvSpPr/>
          <p:nvPr/>
        </p:nvSpPr>
        <p:spPr>
          <a:xfrm>
            <a:off x="2752764" y="3417052"/>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zh-CN" altLang="en-US" dirty="0">
                <a:solidFill>
                  <a:srgbClr val="000000"/>
                </a:solidFill>
                <a:highlight>
                  <a:srgbClr val="000000">
                    <a:alpha val="0"/>
                  </a:srgbClr>
                </a:highlight>
                <a:latin typeface="Simsun"/>
                <a:ea typeface="Simsun"/>
                <a:cs typeface="Arial"/>
                <a:sym typeface="Arial"/>
              </a:rPr>
              <a:t>与</a:t>
            </a:r>
            <a:r>
              <a:rPr kumimoji="0" lang="en-US" altLang="zh-CN" sz="180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JEE</a:t>
            </a:r>
            <a:r>
              <a:rPr kumimoji="0" lang="zh-CN" altLang="en-US" sz="180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外的</a:t>
            </a:r>
            <a:r>
              <a:rPr kumimoji="0" lang="en-US" altLang="zh-CN"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IHR MEF</a:t>
            </a:r>
            <a:r>
              <a:rPr kumimoji="0" lang="zh-CN" altLang="en-US" sz="180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工具</a:t>
            </a:r>
            <a:r>
              <a:rPr kumimoji="0" lang="zh-Hans" altLang="zh-CN"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a:t>
            </a:r>
            <a:r>
              <a:rPr kumimoji="0" lang="zh-CN" altLang="en-U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如</a:t>
            </a:r>
            <a:r>
              <a:rPr kumimoji="0" lang="zh-Hans" altLang="zh-CN"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SPAR, SimEx &amp; AAR</a:t>
            </a:r>
            <a:r>
              <a:rPr kumimoji="0" lang="zh-Hans" altLang="zh-CN"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a:t>
            </a:r>
            <a:r>
              <a:rPr kumimoji="0" lang="zh-CN" altLang="en-U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挂钩有限</a:t>
            </a:r>
            <a:endPar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endParaRPr>
          </a:p>
        </p:txBody>
      </p:sp>
      <p:sp>
        <p:nvSpPr>
          <p:cNvPr id="116" name="Google Shape;3899;p94">
            <a:extLst>
              <a:ext uri="{FF2B5EF4-FFF2-40B4-BE49-F238E27FC236}">
                <a16:creationId xmlns:a16="http://schemas.microsoft.com/office/drawing/2014/main" id="{EB76A0F9-B273-4E57-A544-6E053F93D0D4}"/>
              </a:ext>
            </a:extLst>
          </p:cNvPr>
          <p:cNvSpPr/>
          <p:nvPr/>
        </p:nvSpPr>
        <p:spPr>
          <a:xfrm>
            <a:off x="2764580" y="4219071"/>
            <a:ext cx="7270680"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未</a:t>
            </a:r>
            <a:r>
              <a:rPr kumimoji="0" lang="zh-CN" altLang="en-U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纳入</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实际</a:t>
            </a:r>
            <a:r>
              <a:rPr lang="zh-CN" altLang="en-US" b="1" dirty="0">
                <a:solidFill>
                  <a:srgbClr val="000000"/>
                </a:solidFill>
                <a:highlight>
                  <a:srgbClr val="000000">
                    <a:alpha val="0"/>
                  </a:srgbClr>
                </a:highlight>
                <a:latin typeface="Simsun"/>
                <a:ea typeface="Simsun"/>
                <a:cs typeface="Arial"/>
                <a:sym typeface="Arial"/>
              </a:rPr>
              <a:t>突发事件</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处理</a:t>
            </a:r>
            <a:r>
              <a:rPr kumimoji="0" lang="zh-CN" altLang="en-U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过程</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中学到的经验</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如</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新冠肺炎疫情）</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a:t>
            </a:r>
          </a:p>
        </p:txBody>
      </p:sp>
      <p:sp>
        <p:nvSpPr>
          <p:cNvPr id="117" name="Google Shape;3899;p94">
            <a:extLst>
              <a:ext uri="{FF2B5EF4-FFF2-40B4-BE49-F238E27FC236}">
                <a16:creationId xmlns:a16="http://schemas.microsoft.com/office/drawing/2014/main" id="{33D0C58A-F7A9-4122-B5F7-D1AA15C0B0DA}"/>
              </a:ext>
            </a:extLst>
          </p:cNvPr>
          <p:cNvSpPr/>
          <p:nvPr/>
        </p:nvSpPr>
        <p:spPr>
          <a:xfrm>
            <a:off x="2728788" y="5768762"/>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 与其他</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现有的规划过程</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和</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国内预算</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周期</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保持一致</a:t>
            </a:r>
          </a:p>
        </p:txBody>
      </p:sp>
      <p:sp>
        <p:nvSpPr>
          <p:cNvPr id="118" name="Google Shape;3899;p94">
            <a:extLst>
              <a:ext uri="{FF2B5EF4-FFF2-40B4-BE49-F238E27FC236}">
                <a16:creationId xmlns:a16="http://schemas.microsoft.com/office/drawing/2014/main" id="{47A0099F-212F-4ACD-BE6A-B00D338475B3}"/>
              </a:ext>
            </a:extLst>
          </p:cNvPr>
          <p:cNvSpPr/>
          <p:nvPr/>
        </p:nvSpPr>
        <p:spPr>
          <a:xfrm>
            <a:off x="2740947" y="5016338"/>
            <a:ext cx="7490187"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静态</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计划与</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动态</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计划（没有</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监测</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和</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年度</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计划调整</a:t>
            </a:r>
            <a:r>
              <a:rPr kumimoji="0" lang="zh-Hans" sz="1800" b="1" i="0" u="none" strike="noStrike" kern="1200" cap="none" spc="0" normalizeH="0" baseline="0" noProof="0" dirty="0">
                <a:solidFill>
                  <a:srgbClr val="000000"/>
                </a:solidFill>
                <a:highlight>
                  <a:srgbClr val="000000">
                    <a:alpha val="0"/>
                  </a:srgbClr>
                </a:highlight>
                <a:uLnTx/>
                <a:uFillTx/>
                <a:latin typeface="Simsun"/>
                <a:ea typeface="Simsun"/>
                <a:cs typeface="Arial"/>
                <a:sym typeface="Arial"/>
              </a:rPr>
              <a:t>）</a:t>
            </a:r>
          </a:p>
        </p:txBody>
      </p:sp>
    </p:spTree>
    <p:extLst>
      <p:ext uri="{BB962C8B-B14F-4D97-AF65-F5344CB8AC3E}">
        <p14:creationId xmlns:p14="http://schemas.microsoft.com/office/powerpoint/2010/main" val="44168795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7BA8EE-DBF7-4E1C-AFB9-154F012740CA}"/>
              </a:ext>
            </a:extLst>
          </p:cNvPr>
          <p:cNvSpPr>
            <a:spLocks noGrp="1"/>
          </p:cNvSpPr>
          <p:nvPr>
            <p:ph type="title"/>
          </p:nvPr>
        </p:nvSpPr>
        <p:spPr>
          <a:xfrm>
            <a:off x="277368" y="368808"/>
            <a:ext cx="11277600" cy="1004888"/>
          </a:xfrm>
        </p:spPr>
        <p:txBody>
          <a:bodyPr>
            <a:noAutofit/>
          </a:bodyPr>
          <a:lstStyle/>
          <a:p>
            <a:pPr rtl="0"/>
            <a:r>
              <a:rPr lang="zh-Hans" sz="2800" b="1" i="0" u="none" strike="noStrike">
                <a:solidFill>
                  <a:srgbClr val="002060"/>
                </a:solidFill>
                <a:highlight>
                  <a:srgbClr val="000000">
                    <a:alpha val="0"/>
                  </a:srgbClr>
                </a:highlight>
                <a:latin typeface="Simsun"/>
                <a:ea typeface="Simsun"/>
              </a:rPr>
              <a:t>更新欧洲区域的NAPHS状态</a:t>
            </a:r>
            <a:br>
              <a:rPr lang="zh-Hans" sz="2800" b="0" i="0" u="none" strike="noStrike">
                <a:solidFill>
                  <a:srgbClr val="002060"/>
                </a:solidFill>
                <a:highlight>
                  <a:srgbClr val="000000">
                    <a:alpha val="0"/>
                  </a:srgbClr>
                </a:highlight>
                <a:latin typeface="Simsun"/>
                <a:ea typeface="Simsun"/>
              </a:rPr>
            </a:br>
            <a:endParaRPr lang="en-US">
              <a:solidFill>
                <a:srgbClr val="002060"/>
              </a:solidFill>
            </a:endParaRPr>
          </a:p>
        </p:txBody>
      </p:sp>
      <p:sp>
        <p:nvSpPr>
          <p:cNvPr id="2" name="Content Placeholder 1">
            <a:extLst>
              <a:ext uri="{FF2B5EF4-FFF2-40B4-BE49-F238E27FC236}">
                <a16:creationId xmlns:a16="http://schemas.microsoft.com/office/drawing/2014/main" id="{CB0A5B5A-9CDE-411A-9CAD-54F1C0B36FC1}"/>
              </a:ext>
            </a:extLst>
          </p:cNvPr>
          <p:cNvSpPr>
            <a:spLocks noGrp="1"/>
          </p:cNvSpPr>
          <p:nvPr>
            <p:ph idx="1"/>
          </p:nvPr>
        </p:nvSpPr>
        <p:spPr>
          <a:xfrm>
            <a:off x="277368" y="2439048"/>
            <a:ext cx="4794504" cy="2200602"/>
          </a:xfrm>
        </p:spPr>
        <p:txBody>
          <a:bodyPr>
            <a:noAutofit/>
          </a:bodyPr>
          <a:lstStyle/>
          <a:p>
            <a:pPr marL="0" indent="0" rtl="0">
              <a:buNone/>
            </a:pPr>
            <a:r>
              <a:rPr lang="zh-Hans" sz="2400" b="1" i="0" u="none" strike="noStrike" dirty="0">
                <a:highlight>
                  <a:srgbClr val="000000">
                    <a:alpha val="0"/>
                  </a:srgbClr>
                </a:highlight>
                <a:latin typeface="Simsun"/>
                <a:ea typeface="Simsun"/>
              </a:rPr>
              <a:t>其他</a:t>
            </a:r>
          </a:p>
          <a:p>
            <a:pPr marL="342900" indent="-342900" rtl="0">
              <a:buFont typeface="Arial" panose="020B0604020202020204" pitchFamily="34" charset="0"/>
              <a:buChar char="•"/>
            </a:pPr>
            <a:r>
              <a:rPr lang="zh-Hans" sz="2000" b="0" i="0" u="none" strike="noStrike" dirty="0">
                <a:highlight>
                  <a:srgbClr val="000000">
                    <a:alpha val="0"/>
                  </a:srgbClr>
                </a:highlight>
                <a:latin typeface="Simsun"/>
                <a:ea typeface="Simsun"/>
              </a:rPr>
              <a:t>制定了《国家行动计划》草案，并与利益相关者进行了讨论 (2)</a:t>
            </a:r>
          </a:p>
          <a:p>
            <a:pPr marL="342900" indent="-342900" rtl="0">
              <a:buFont typeface="Arial" panose="020B0604020202020204" pitchFamily="34" charset="0"/>
              <a:buChar char="•"/>
            </a:pPr>
            <a:r>
              <a:rPr lang="zh-Hans" sz="2000" b="0" i="0" u="none" strike="noStrike" dirty="0">
                <a:highlight>
                  <a:srgbClr val="000000">
                    <a:alpha val="0"/>
                  </a:srgbClr>
                </a:highlight>
                <a:latin typeface="Simsun"/>
                <a:ea typeface="Simsun"/>
              </a:rPr>
              <a:t>制定并定期更新NAPHS，供参与的利益相关者内部使用</a:t>
            </a:r>
            <a:endParaRPr lang="en-US" sz="2000" dirty="0"/>
          </a:p>
          <a:p>
            <a:endParaRPr lang="en-US" sz="2400" dirty="0"/>
          </a:p>
        </p:txBody>
      </p:sp>
      <p:graphicFrame>
        <p:nvGraphicFramePr>
          <p:cNvPr id="4" name="Chart 3">
            <a:extLst>
              <a:ext uri="{FF2B5EF4-FFF2-40B4-BE49-F238E27FC236}">
                <a16:creationId xmlns:a16="http://schemas.microsoft.com/office/drawing/2014/main" id="{C938052B-8F1C-4AAF-9BD4-28925C269F28}"/>
              </a:ext>
            </a:extLst>
          </p:cNvPr>
          <p:cNvGraphicFramePr/>
          <p:nvPr>
            <p:extLst>
              <p:ext uri="{D42A27DB-BD31-4B8C-83A1-F6EECF244321}">
                <p14:modId xmlns:p14="http://schemas.microsoft.com/office/powerpoint/2010/main" val="1635414269"/>
              </p:ext>
            </p:extLst>
          </p:nvPr>
        </p:nvGraphicFramePr>
        <p:xfrm>
          <a:off x="3628761" y="1011407"/>
          <a:ext cx="8285871" cy="531193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4950864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5">
            <a:extLst>
              <a:ext uri="{FF2B5EF4-FFF2-40B4-BE49-F238E27FC236}">
                <a16:creationId xmlns:a16="http://schemas.microsoft.com/office/drawing/2014/main" id="{28029D1F-E68C-4955-BCF8-08560FABA880}"/>
              </a:ext>
            </a:extLst>
          </p:cNvPr>
          <p:cNvSpPr>
            <a:spLocks noGrp="1"/>
          </p:cNvSpPr>
          <p:nvPr>
            <p:ph type="title"/>
          </p:nvPr>
        </p:nvSpPr>
        <p:spPr>
          <a:xfrm>
            <a:off x="351847" y="0"/>
            <a:ext cx="11277600" cy="1004888"/>
          </a:xfrm>
        </p:spPr>
        <p:txBody>
          <a:bodyPr>
            <a:noAutofit/>
          </a:bodyPr>
          <a:lstStyle/>
          <a:p>
            <a:pPr rtl="0"/>
            <a:r>
              <a:rPr lang="zh-Hans" sz="2800" b="1" i="0" u="none" strike="noStrike">
                <a:solidFill>
                  <a:srgbClr val="002060"/>
                </a:solidFill>
                <a:highlight>
                  <a:srgbClr val="000000">
                    <a:alpha val="0"/>
                  </a:srgbClr>
                </a:highlight>
                <a:latin typeface="Simsun"/>
                <a:ea typeface="Simsun"/>
              </a:rPr>
              <a:t>成员国对欧州区域NAPHS的反馈</a:t>
            </a:r>
          </a:p>
        </p:txBody>
      </p:sp>
      <p:graphicFrame>
        <p:nvGraphicFramePr>
          <p:cNvPr id="7" name="Chart 6">
            <a:extLst>
              <a:ext uri="{FF2B5EF4-FFF2-40B4-BE49-F238E27FC236}">
                <a16:creationId xmlns:a16="http://schemas.microsoft.com/office/drawing/2014/main" id="{DA822EAF-D366-4BB4-B896-A6353309E6F9}"/>
              </a:ext>
            </a:extLst>
          </p:cNvPr>
          <p:cNvGraphicFramePr/>
          <p:nvPr/>
        </p:nvGraphicFramePr>
        <p:xfrm>
          <a:off x="1778848" y="837060"/>
          <a:ext cx="8986303" cy="56024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5566758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2">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6"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8BB1367E-A04D-4D6E-8700-1FB107306743}"/>
              </a:ext>
            </a:extLst>
          </p:cNvPr>
          <p:cNvSpPr txBox="1"/>
          <p:nvPr/>
        </p:nvSpPr>
        <p:spPr>
          <a:xfrm>
            <a:off x="185026" y="586856"/>
            <a:ext cx="3427456" cy="473438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ct val="0"/>
              </a:spcAft>
              <a:buClrTx/>
              <a:buSzTx/>
              <a:buFontTx/>
              <a:buNone/>
              <a:defRPr/>
            </a:pPr>
            <a:r>
              <a:rPr kumimoji="0" lang="zh-Hans" sz="3600" b="1" i="0" u="none" strike="noStrike" kern="1200" cap="none" spc="0" normalizeH="0" baseline="0" noProof="0" dirty="0">
                <a:solidFill>
                  <a:srgbClr val="FFFFFF"/>
                </a:solidFill>
                <a:highlight>
                  <a:srgbClr val="000000">
                    <a:alpha val="0"/>
                  </a:srgbClr>
                </a:highlight>
                <a:uLnTx/>
                <a:uFillTx/>
                <a:latin typeface="Simsun"/>
                <a:ea typeface="Simsun"/>
                <a:cs typeface="Arial"/>
              </a:rPr>
              <a:t>国家</a:t>
            </a:r>
            <a:r>
              <a:rPr lang="zh-CN" altLang="en-US" sz="3600" b="1" dirty="0">
                <a:solidFill>
                  <a:srgbClr val="FFFFFF"/>
                </a:solidFill>
                <a:highlight>
                  <a:srgbClr val="000000">
                    <a:alpha val="0"/>
                  </a:srgbClr>
                </a:highlight>
                <a:latin typeface="Simsun"/>
                <a:ea typeface="Simsun"/>
                <a:cs typeface="Arial"/>
              </a:rPr>
              <a:t>层面</a:t>
            </a:r>
            <a:r>
              <a:rPr kumimoji="0" lang="zh-Hans" sz="3600" b="1" i="0" u="none" strike="noStrike" kern="1200" cap="none" spc="0" normalizeH="0" baseline="0" noProof="0" dirty="0">
                <a:solidFill>
                  <a:srgbClr val="FFFFFF"/>
                </a:solidFill>
                <a:highlight>
                  <a:srgbClr val="000000">
                    <a:alpha val="0"/>
                  </a:srgbClr>
                </a:highlight>
                <a:uLnTx/>
                <a:uFillTx/>
                <a:latin typeface="Simsun"/>
                <a:ea typeface="Simsun"/>
                <a:cs typeface="Arial"/>
              </a:rPr>
              <a:t>的政策和计划架构</a:t>
            </a:r>
            <a:endParaRPr kumimoji="0" lang="en-US" sz="3600" b="1" i="1" u="none" strike="noStrike" kern="1200" cap="none" spc="0" normalizeH="0" baseline="0" noProof="0" dirty="0">
              <a:ln>
                <a:noFill/>
              </a:ln>
              <a:solidFill>
                <a:prstClr val="white"/>
              </a:solidFill>
              <a:effectLst/>
              <a:uLnTx/>
              <a:uFillTx/>
              <a:latin typeface="Calibri Light" panose="020F0302020204030204"/>
              <a:ea typeface="+mj-ea"/>
              <a:cs typeface="Arial" panose="020B0604020202020204" pitchFamily="34" charset="0"/>
            </a:endParaRPr>
          </a:p>
        </p:txBody>
      </p:sp>
      <p:pic>
        <p:nvPicPr>
          <p:cNvPr id="54" name="Graphic 53" descr="House outline">
            <a:extLst>
              <a:ext uri="{FF2B5EF4-FFF2-40B4-BE49-F238E27FC236}">
                <a16:creationId xmlns:a16="http://schemas.microsoft.com/office/drawing/2014/main" id="{C90DE82E-D676-4F60-B4AB-80D54A619E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8574" y="4713819"/>
            <a:ext cx="1937310" cy="1937310"/>
          </a:xfrm>
          <a:prstGeom prst="rect">
            <a:avLst/>
          </a:prstGeom>
        </p:spPr>
      </p:pic>
      <p:sp>
        <p:nvSpPr>
          <p:cNvPr id="2" name="Oval 1">
            <a:extLst>
              <a:ext uri="{FF2B5EF4-FFF2-40B4-BE49-F238E27FC236}">
                <a16:creationId xmlns:a16="http://schemas.microsoft.com/office/drawing/2014/main" id="{F8D1F587-FBA9-819E-BB4F-3948F1D1ED4F}"/>
              </a:ext>
            </a:extLst>
          </p:cNvPr>
          <p:cNvSpPr/>
          <p:nvPr/>
        </p:nvSpPr>
        <p:spPr>
          <a:xfrm>
            <a:off x="6166764" y="976595"/>
            <a:ext cx="3795026" cy="3795024"/>
          </a:xfrm>
          <a:prstGeom prst="ellipse">
            <a:avLst/>
          </a:prstGeom>
          <a:solidFill>
            <a:schemeClr val="accent1">
              <a:lumMod val="40000"/>
              <a:lumOff val="6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3" name="TextBox 2">
            <a:extLst>
              <a:ext uri="{FF2B5EF4-FFF2-40B4-BE49-F238E27FC236}">
                <a16:creationId xmlns:a16="http://schemas.microsoft.com/office/drawing/2014/main" id="{B541A4C7-67F2-FC25-5ECB-1E6A1718E9C3}"/>
              </a:ext>
            </a:extLst>
          </p:cNvPr>
          <p:cNvSpPr txBox="1"/>
          <p:nvPr/>
        </p:nvSpPr>
        <p:spPr>
          <a:xfrm>
            <a:off x="7107855" y="1044214"/>
            <a:ext cx="1912844" cy="430887"/>
          </a:xfrm>
          <a:prstGeom prst="rect">
            <a:avLst/>
          </a:prstGeom>
          <a:noFill/>
          <a:ln>
            <a:noFill/>
          </a:ln>
        </p:spPr>
        <p:txBody>
          <a:bodyPr wrap="squar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2F5597"/>
                </a:solidFill>
                <a:highlight>
                  <a:srgbClr val="000000">
                    <a:alpha val="0"/>
                  </a:srgbClr>
                </a:highlight>
                <a:uLnTx/>
                <a:uFillTx/>
                <a:latin typeface="Simsun"/>
                <a:ea typeface="Simsun"/>
                <a:cs typeface="Arial"/>
              </a:rPr>
              <a:t>国家卫生政策，</a:t>
            </a: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2F5597"/>
                </a:solidFill>
                <a:highlight>
                  <a:srgbClr val="000000">
                    <a:alpha val="0"/>
                  </a:srgbClr>
                </a:highlight>
                <a:uLnTx/>
                <a:uFillTx/>
                <a:latin typeface="Simsun"/>
                <a:ea typeface="Simsun"/>
                <a:cs typeface="Arial"/>
              </a:rPr>
              <a:t>战略和计划（NHPSP）</a:t>
            </a:r>
          </a:p>
        </p:txBody>
      </p:sp>
      <p:sp>
        <p:nvSpPr>
          <p:cNvPr id="4" name="Oval 3">
            <a:extLst>
              <a:ext uri="{FF2B5EF4-FFF2-40B4-BE49-F238E27FC236}">
                <a16:creationId xmlns:a16="http://schemas.microsoft.com/office/drawing/2014/main" id="{4EA722B6-AA7D-C4C3-2599-099B981ACA7D}"/>
              </a:ext>
            </a:extLst>
          </p:cNvPr>
          <p:cNvSpPr/>
          <p:nvPr/>
        </p:nvSpPr>
        <p:spPr>
          <a:xfrm>
            <a:off x="6395270" y="1432192"/>
            <a:ext cx="3276355" cy="3276355"/>
          </a:xfrm>
          <a:prstGeom prst="ellipse">
            <a:avLst/>
          </a:prstGeom>
          <a:solidFill>
            <a:srgbClr val="DA115D"/>
          </a:solidFill>
          <a:ln>
            <a:solidFill>
              <a:schemeClr val="tx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5" name="Oval 4">
            <a:extLst>
              <a:ext uri="{FF2B5EF4-FFF2-40B4-BE49-F238E27FC236}">
                <a16:creationId xmlns:a16="http://schemas.microsoft.com/office/drawing/2014/main" id="{4130762C-1A14-D0E2-BF0D-9D5C153CC238}"/>
              </a:ext>
            </a:extLst>
          </p:cNvPr>
          <p:cNvSpPr/>
          <p:nvPr/>
        </p:nvSpPr>
        <p:spPr>
          <a:xfrm>
            <a:off x="6682624" y="1921009"/>
            <a:ext cx="2701647" cy="2701647"/>
          </a:xfrm>
          <a:prstGeom prst="ellipse">
            <a:avLst/>
          </a:prstGeom>
          <a:solidFill>
            <a:srgbClr val="DA115D"/>
          </a:solidFill>
          <a:ln>
            <a:solidFill>
              <a:schemeClr val="tx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6" name="Oval 5">
            <a:extLst>
              <a:ext uri="{FF2B5EF4-FFF2-40B4-BE49-F238E27FC236}">
                <a16:creationId xmlns:a16="http://schemas.microsoft.com/office/drawing/2014/main" id="{EA3B3CB6-CF7E-EBC5-1834-537337A991CB}"/>
              </a:ext>
            </a:extLst>
          </p:cNvPr>
          <p:cNvSpPr/>
          <p:nvPr/>
        </p:nvSpPr>
        <p:spPr>
          <a:xfrm>
            <a:off x="6953048" y="2412979"/>
            <a:ext cx="2160798" cy="2160798"/>
          </a:xfrm>
          <a:prstGeom prst="ellipse">
            <a:avLst/>
          </a:prstGeom>
          <a:solidFill>
            <a:schemeClr val="accent1"/>
          </a:solidFill>
          <a:ln>
            <a:solidFill>
              <a:schemeClr val="tx2">
                <a:lumMod val="75000"/>
              </a:schemeClr>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7" name="Oval 6">
            <a:extLst>
              <a:ext uri="{FF2B5EF4-FFF2-40B4-BE49-F238E27FC236}">
                <a16:creationId xmlns:a16="http://schemas.microsoft.com/office/drawing/2014/main" id="{897323CF-0C1F-AE17-2E0E-093393BD1F79}"/>
              </a:ext>
            </a:extLst>
          </p:cNvPr>
          <p:cNvSpPr/>
          <p:nvPr/>
        </p:nvSpPr>
        <p:spPr>
          <a:xfrm>
            <a:off x="7226957" y="2904642"/>
            <a:ext cx="1612981" cy="1612981"/>
          </a:xfrm>
          <a:prstGeom prst="ellipse">
            <a:avLst/>
          </a:prstGeom>
          <a:solidFill>
            <a:schemeClr val="accent1"/>
          </a:solidFill>
          <a:ln>
            <a:solidFill>
              <a:schemeClr val="tx2">
                <a:lumMod val="75000"/>
              </a:schemeClr>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9" name="Oval 8">
            <a:extLst>
              <a:ext uri="{FF2B5EF4-FFF2-40B4-BE49-F238E27FC236}">
                <a16:creationId xmlns:a16="http://schemas.microsoft.com/office/drawing/2014/main" id="{A4F7E24D-0CD7-360C-0D50-730B6AABC1A8}"/>
              </a:ext>
            </a:extLst>
          </p:cNvPr>
          <p:cNvSpPr/>
          <p:nvPr/>
        </p:nvSpPr>
        <p:spPr>
          <a:xfrm>
            <a:off x="7515583" y="3429533"/>
            <a:ext cx="1035728" cy="1035728"/>
          </a:xfrm>
          <a:prstGeom prst="ellipse">
            <a:avLst/>
          </a:pr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000000"/>
                </a:solidFill>
                <a:highlight>
                  <a:srgbClr val="000000">
                    <a:alpha val="0"/>
                  </a:srgbClr>
                </a:highlight>
                <a:uLnTx/>
                <a:uFillTx/>
                <a:latin typeface="Simsun"/>
                <a:ea typeface="Simsun"/>
                <a:cs typeface="Arial"/>
              </a:rPr>
              <a:t>国家风险概况</a:t>
            </a:r>
          </a:p>
        </p:txBody>
      </p:sp>
      <p:sp>
        <p:nvSpPr>
          <p:cNvPr id="19" name="TextBox 18">
            <a:extLst>
              <a:ext uri="{FF2B5EF4-FFF2-40B4-BE49-F238E27FC236}">
                <a16:creationId xmlns:a16="http://schemas.microsoft.com/office/drawing/2014/main" id="{9EA20578-B67D-74A5-6DCA-C812A5954680}"/>
              </a:ext>
            </a:extLst>
          </p:cNvPr>
          <p:cNvSpPr txBox="1"/>
          <p:nvPr/>
        </p:nvSpPr>
        <p:spPr>
          <a:xfrm>
            <a:off x="7595666" y="2992818"/>
            <a:ext cx="875561" cy="430887"/>
          </a:xfrm>
          <a:prstGeom prst="rect">
            <a:avLst/>
          </a:prstGeom>
          <a:noFill/>
          <a:ln>
            <a:noFill/>
          </a:ln>
        </p:spPr>
        <p:txBody>
          <a:bodyPr wrap="non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FFFFFF"/>
                </a:solidFill>
                <a:highlight>
                  <a:srgbClr val="000000">
                    <a:alpha val="0"/>
                  </a:srgbClr>
                </a:highlight>
                <a:uLnTx/>
                <a:uFillTx/>
                <a:latin typeface="Simsun"/>
                <a:ea typeface="Simsun"/>
                <a:cs typeface="Arial"/>
              </a:rPr>
              <a:t>意外事件</a:t>
            </a: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FFFFFF"/>
                </a:solidFill>
                <a:highlight>
                  <a:srgbClr val="000000">
                    <a:alpha val="0"/>
                  </a:srgbClr>
                </a:highlight>
                <a:uLnTx/>
                <a:uFillTx/>
                <a:latin typeface="Simsun"/>
                <a:ea typeface="Simsun"/>
                <a:cs typeface="Arial"/>
              </a:rPr>
              <a:t>计划</a:t>
            </a:r>
          </a:p>
        </p:txBody>
      </p:sp>
      <p:sp>
        <p:nvSpPr>
          <p:cNvPr id="27" name="TextBox 26">
            <a:extLst>
              <a:ext uri="{FF2B5EF4-FFF2-40B4-BE49-F238E27FC236}">
                <a16:creationId xmlns:a16="http://schemas.microsoft.com/office/drawing/2014/main" id="{6C09BA53-1880-31F3-A50B-15E3C85A159B}"/>
              </a:ext>
            </a:extLst>
          </p:cNvPr>
          <p:cNvSpPr txBox="1"/>
          <p:nvPr/>
        </p:nvSpPr>
        <p:spPr>
          <a:xfrm>
            <a:off x="7699927" y="2557141"/>
            <a:ext cx="660758" cy="261610"/>
          </a:xfrm>
          <a:prstGeom prst="rect">
            <a:avLst/>
          </a:prstGeom>
          <a:noFill/>
          <a:ln>
            <a:noFill/>
          </a:ln>
        </p:spPr>
        <p:txBody>
          <a:bodyPr wrap="none" rtlCol="0">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FFFFFF"/>
                </a:solidFill>
                <a:highlight>
                  <a:srgbClr val="000000">
                    <a:alpha val="0"/>
                  </a:srgbClr>
                </a:highlight>
                <a:uLnTx/>
                <a:uFillTx/>
                <a:latin typeface="Simsun"/>
                <a:ea typeface="Simsun"/>
                <a:cs typeface="Arial"/>
              </a:rPr>
              <a:t>NHEROP</a:t>
            </a:r>
          </a:p>
        </p:txBody>
      </p:sp>
      <p:sp>
        <p:nvSpPr>
          <p:cNvPr id="29" name="TextBox 28">
            <a:extLst>
              <a:ext uri="{FF2B5EF4-FFF2-40B4-BE49-F238E27FC236}">
                <a16:creationId xmlns:a16="http://schemas.microsoft.com/office/drawing/2014/main" id="{EE592289-9692-F87B-EE5C-A93063337688}"/>
              </a:ext>
            </a:extLst>
          </p:cNvPr>
          <p:cNvSpPr txBox="1"/>
          <p:nvPr/>
        </p:nvSpPr>
        <p:spPr>
          <a:xfrm>
            <a:off x="7678392" y="1475101"/>
            <a:ext cx="745717" cy="338554"/>
          </a:xfrm>
          <a:prstGeom prst="rect">
            <a:avLst/>
          </a:prstGeom>
          <a:noFill/>
          <a:ln>
            <a:noFill/>
          </a:ln>
        </p:spPr>
        <p:txBody>
          <a:bodyPr wrap="non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600" b="1" i="0" u="none" strike="noStrike" kern="1200" cap="none" spc="0" normalizeH="0" baseline="0" noProof="0">
                <a:solidFill>
                  <a:srgbClr val="FFFFFF"/>
                </a:solidFill>
                <a:highlight>
                  <a:srgbClr val="000000">
                    <a:alpha val="0"/>
                  </a:srgbClr>
                </a:highlight>
                <a:uLnTx/>
                <a:uFillTx/>
                <a:latin typeface="Simsun"/>
                <a:ea typeface="Simsun"/>
                <a:cs typeface="Arial"/>
              </a:rPr>
              <a:t>NAPHS</a:t>
            </a:r>
          </a:p>
        </p:txBody>
      </p:sp>
      <p:sp>
        <p:nvSpPr>
          <p:cNvPr id="38" name="TextBox 37">
            <a:extLst>
              <a:ext uri="{FF2B5EF4-FFF2-40B4-BE49-F238E27FC236}">
                <a16:creationId xmlns:a16="http://schemas.microsoft.com/office/drawing/2014/main" id="{807D6D13-673D-DCD1-3A4A-D3B0EF9D4C1A}"/>
              </a:ext>
            </a:extLst>
          </p:cNvPr>
          <p:cNvSpPr txBox="1"/>
          <p:nvPr/>
        </p:nvSpPr>
        <p:spPr>
          <a:xfrm>
            <a:off x="6958135" y="1956881"/>
            <a:ext cx="2116028" cy="523220"/>
          </a:xfrm>
          <a:prstGeom prst="rect">
            <a:avLst/>
          </a:prstGeom>
          <a:noFill/>
          <a:ln>
            <a:noFill/>
          </a:ln>
        </p:spPr>
        <p:txBody>
          <a:bodyPr wrap="none" rtlCol="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400" b="1" i="0" u="none" strike="noStrike" kern="1200" cap="none" spc="0" normalizeH="0" baseline="0" noProof="0">
                <a:solidFill>
                  <a:srgbClr val="FFFFFF"/>
                </a:solidFill>
                <a:highlight>
                  <a:srgbClr val="000000">
                    <a:alpha val="0"/>
                  </a:srgbClr>
                </a:highlight>
                <a:uLnTx/>
                <a:uFillTx/>
                <a:latin typeface="Simsun"/>
                <a:ea typeface="Simsun"/>
                <a:cs typeface="Arial"/>
              </a:rPr>
              <a:t>NAPHS</a:t>
            </a: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400" b="1" i="0" u="none" strike="noStrike" kern="1200" cap="none" spc="0" normalizeH="0" baseline="0" noProof="0">
                <a:solidFill>
                  <a:srgbClr val="FFFFFF"/>
                </a:solidFill>
                <a:highlight>
                  <a:srgbClr val="000000">
                    <a:alpha val="0"/>
                  </a:srgbClr>
                </a:highlight>
                <a:uLnTx/>
                <a:uFillTx/>
                <a:latin typeface="Simsun"/>
                <a:ea typeface="Simsun"/>
                <a:cs typeface="Arial"/>
              </a:rPr>
              <a:t>年度实施计划</a:t>
            </a:r>
          </a:p>
        </p:txBody>
      </p:sp>
      <p:sp>
        <p:nvSpPr>
          <p:cNvPr id="39" name="Rectangle: Rounded Corners 38">
            <a:extLst>
              <a:ext uri="{FF2B5EF4-FFF2-40B4-BE49-F238E27FC236}">
                <a16:creationId xmlns:a16="http://schemas.microsoft.com/office/drawing/2014/main" id="{607281CC-35EA-3DFA-35F7-95BCF303FA4C}"/>
              </a:ext>
            </a:extLst>
          </p:cNvPr>
          <p:cNvSpPr/>
          <p:nvPr/>
        </p:nvSpPr>
        <p:spPr>
          <a:xfrm>
            <a:off x="4379893" y="237202"/>
            <a:ext cx="1555444" cy="3609443"/>
          </a:xfrm>
          <a:prstGeom prst="roundRect">
            <a:avLst>
              <a:gd name="adj" fmla="val 0"/>
            </a:avLst>
          </a:prstGeom>
          <a:solidFill>
            <a:schemeClr val="bg1">
              <a:lumMod val="95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200" b="1" i="0" u="none" strike="noStrike" kern="1200" cap="none" spc="0" normalizeH="0" baseline="0" noProof="0">
                <a:solidFill>
                  <a:srgbClr val="548235"/>
                </a:solidFill>
                <a:highlight>
                  <a:srgbClr val="000000">
                    <a:alpha val="0"/>
                  </a:srgbClr>
                </a:highlight>
                <a:uLnTx/>
                <a:uFillTx/>
                <a:latin typeface="Simsun"/>
                <a:ea typeface="Simsun"/>
                <a:cs typeface="Arial"/>
              </a:rPr>
              <a:t>方式</a:t>
            </a:r>
          </a:p>
        </p:txBody>
      </p:sp>
      <p:sp>
        <p:nvSpPr>
          <p:cNvPr id="40" name="Rectangle: Rounded Corners 39">
            <a:extLst>
              <a:ext uri="{FF2B5EF4-FFF2-40B4-BE49-F238E27FC236}">
                <a16:creationId xmlns:a16="http://schemas.microsoft.com/office/drawing/2014/main" id="{0A26D4A1-1DA0-DCBA-5F9C-FF76D741B33B}"/>
              </a:ext>
            </a:extLst>
          </p:cNvPr>
          <p:cNvSpPr/>
          <p:nvPr/>
        </p:nvSpPr>
        <p:spPr>
          <a:xfrm>
            <a:off x="10182412" y="259492"/>
            <a:ext cx="1555200" cy="3608173"/>
          </a:xfrm>
          <a:prstGeom prst="roundRect">
            <a:avLst>
              <a:gd name="adj" fmla="val 0"/>
            </a:avLst>
          </a:prstGeom>
          <a:solidFill>
            <a:schemeClr val="bg1">
              <a:lumMod val="95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200" b="1" i="0" u="none" strike="noStrike" kern="1200" cap="none" spc="0" normalizeH="0" baseline="0" noProof="0">
                <a:solidFill>
                  <a:srgbClr val="548235"/>
                </a:solidFill>
                <a:highlight>
                  <a:srgbClr val="000000">
                    <a:alpha val="0"/>
                  </a:srgbClr>
                </a:highlight>
                <a:uLnTx/>
                <a:uFillTx/>
                <a:latin typeface="Simsun"/>
                <a:ea typeface="Simsun"/>
                <a:cs typeface="Arial"/>
              </a:rPr>
              <a:t>治理</a:t>
            </a:r>
          </a:p>
        </p:txBody>
      </p:sp>
      <p:cxnSp>
        <p:nvCxnSpPr>
          <p:cNvPr id="41" name="Straight Arrow Connector 40">
            <a:extLst>
              <a:ext uri="{FF2B5EF4-FFF2-40B4-BE49-F238E27FC236}">
                <a16:creationId xmlns:a16="http://schemas.microsoft.com/office/drawing/2014/main" id="{93A9FABA-2B3F-1A0A-67E8-CD61008B5425}"/>
              </a:ext>
            </a:extLst>
          </p:cNvPr>
          <p:cNvCxnSpPr/>
          <p:nvPr/>
        </p:nvCxnSpPr>
        <p:spPr>
          <a:xfrm>
            <a:off x="5702643" y="3279090"/>
            <a:ext cx="1902941" cy="7807"/>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4E51018-6B7D-535D-BD68-5441B09781F5}"/>
              </a:ext>
            </a:extLst>
          </p:cNvPr>
          <p:cNvCxnSpPr/>
          <p:nvPr/>
        </p:nvCxnSpPr>
        <p:spPr>
          <a:xfrm flipV="1">
            <a:off x="5702643" y="2687946"/>
            <a:ext cx="1893023" cy="5964"/>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0CD66BF-3D7F-F824-D34A-F2508067EAB6}"/>
              </a:ext>
            </a:extLst>
          </p:cNvPr>
          <p:cNvCxnSpPr/>
          <p:nvPr/>
        </p:nvCxnSpPr>
        <p:spPr>
          <a:xfrm>
            <a:off x="5573491" y="1742838"/>
            <a:ext cx="2016590" cy="2764"/>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D13BBF5C-753C-0A31-6CF2-BDD0CA0DEB61}"/>
              </a:ext>
            </a:extLst>
          </p:cNvPr>
          <p:cNvCxnSpPr/>
          <p:nvPr/>
        </p:nvCxnSpPr>
        <p:spPr>
          <a:xfrm>
            <a:off x="5586218" y="1271509"/>
            <a:ext cx="1688066" cy="0"/>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E722498-67D5-BB50-6281-5AB47A4AC363}"/>
              </a:ext>
            </a:extLst>
          </p:cNvPr>
          <p:cNvSpPr/>
          <p:nvPr/>
        </p:nvSpPr>
        <p:spPr>
          <a:xfrm>
            <a:off x="4474199" y="761394"/>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dirty="0">
                <a:solidFill>
                  <a:srgbClr val="548235"/>
                </a:solidFill>
                <a:highlight>
                  <a:srgbClr val="000000">
                    <a:alpha val="0"/>
                  </a:srgbClr>
                </a:highlight>
                <a:uLnTx/>
                <a:uFillTx/>
                <a:latin typeface="Simsun"/>
                <a:ea typeface="Simsun"/>
                <a:cs typeface="Arial"/>
              </a:rPr>
              <a:t>全风险</a:t>
            </a:r>
            <a:r>
              <a:rPr kumimoji="0" lang="zh-CN" altLang="en-US" sz="1100" b="1" i="0" u="none" strike="noStrike" kern="1200" cap="none" spc="0" normalizeH="0" baseline="0" noProof="0" dirty="0">
                <a:solidFill>
                  <a:srgbClr val="548235"/>
                </a:solidFill>
                <a:highlight>
                  <a:srgbClr val="000000">
                    <a:alpha val="0"/>
                  </a:srgbClr>
                </a:highlight>
                <a:uLnTx/>
                <a:uFillTx/>
                <a:latin typeface="Simsun"/>
                <a:ea typeface="Simsun"/>
                <a:cs typeface="Arial"/>
              </a:rPr>
              <a:t>覆盖</a:t>
            </a:r>
            <a:endParaRPr kumimoji="0" lang="zh-Hans" sz="1100" b="1" i="0" u="none" strike="noStrike" kern="1200" cap="none" spc="0" normalizeH="0" baseline="0" noProof="0" dirty="0">
              <a:solidFill>
                <a:srgbClr val="548235"/>
              </a:solidFill>
              <a:highlight>
                <a:srgbClr val="000000">
                  <a:alpha val="0"/>
                </a:srgbClr>
              </a:highlight>
              <a:uLnTx/>
              <a:uFillTx/>
              <a:latin typeface="Simsun"/>
              <a:ea typeface="Simsun"/>
              <a:cs typeface="Arial"/>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dirty="0">
                <a:solidFill>
                  <a:srgbClr val="548235"/>
                </a:solidFill>
                <a:highlight>
                  <a:srgbClr val="000000">
                    <a:alpha val="0"/>
                  </a:srgbClr>
                </a:highlight>
                <a:uLnTx/>
                <a:uFillTx/>
                <a:latin typeface="Simsun"/>
                <a:ea typeface="Simsun"/>
                <a:cs typeface="Arial"/>
              </a:rPr>
              <a:t>全社会</a:t>
            </a:r>
          </a:p>
        </p:txBody>
      </p:sp>
      <p:sp>
        <p:nvSpPr>
          <p:cNvPr id="53" name="Rectangle: Rounded Corners 52">
            <a:extLst>
              <a:ext uri="{FF2B5EF4-FFF2-40B4-BE49-F238E27FC236}">
                <a16:creationId xmlns:a16="http://schemas.microsoft.com/office/drawing/2014/main" id="{108F3405-387D-293E-F34B-FAFEB1136625}"/>
              </a:ext>
            </a:extLst>
          </p:cNvPr>
          <p:cNvSpPr/>
          <p:nvPr/>
        </p:nvSpPr>
        <p:spPr>
          <a:xfrm>
            <a:off x="4458822" y="1543021"/>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多风险</a:t>
            </a: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多部门</a:t>
            </a:r>
          </a:p>
        </p:txBody>
      </p:sp>
      <p:sp>
        <p:nvSpPr>
          <p:cNvPr id="55" name="Rectangle: Rounded Corners 54">
            <a:extLst>
              <a:ext uri="{FF2B5EF4-FFF2-40B4-BE49-F238E27FC236}">
                <a16:creationId xmlns:a16="http://schemas.microsoft.com/office/drawing/2014/main" id="{5B5F7274-965C-147B-6C72-00AF3FCE53F4}"/>
              </a:ext>
            </a:extLst>
          </p:cNvPr>
          <p:cNvSpPr/>
          <p:nvPr/>
        </p:nvSpPr>
        <p:spPr>
          <a:xfrm>
            <a:off x="4454944" y="2397003"/>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dirty="0">
                <a:solidFill>
                  <a:srgbClr val="548235"/>
                </a:solidFill>
                <a:highlight>
                  <a:srgbClr val="000000">
                    <a:alpha val="0"/>
                  </a:srgbClr>
                </a:highlight>
                <a:uLnTx/>
                <a:uFillTx/>
                <a:latin typeface="Simsun"/>
                <a:ea typeface="Simsun"/>
                <a:cs typeface="Arial"/>
              </a:rPr>
              <a:t>全风险</a:t>
            </a:r>
            <a:r>
              <a:rPr kumimoji="0" lang="zh-CN" altLang="en-US" sz="1100" b="1" i="0" u="none" strike="noStrike" kern="1200" cap="none" spc="0" normalizeH="0" baseline="0" noProof="0" dirty="0">
                <a:solidFill>
                  <a:srgbClr val="548235"/>
                </a:solidFill>
                <a:highlight>
                  <a:srgbClr val="000000">
                    <a:alpha val="0"/>
                  </a:srgbClr>
                </a:highlight>
                <a:uLnTx/>
                <a:uFillTx/>
                <a:latin typeface="Simsun"/>
                <a:ea typeface="Simsun"/>
                <a:cs typeface="Arial"/>
              </a:rPr>
              <a:t>覆盖</a:t>
            </a:r>
            <a:endParaRPr kumimoji="0" lang="zh-Hans" sz="1100" b="1" i="0" u="none" strike="noStrike" kern="1200" cap="none" spc="0" normalizeH="0" baseline="0" noProof="0" dirty="0">
              <a:solidFill>
                <a:srgbClr val="548235"/>
              </a:solidFill>
              <a:highlight>
                <a:srgbClr val="000000">
                  <a:alpha val="0"/>
                </a:srgbClr>
              </a:highlight>
              <a:uLnTx/>
              <a:uFillTx/>
              <a:latin typeface="Simsun"/>
              <a:ea typeface="Simsun"/>
              <a:cs typeface="Arial"/>
            </a:endParaRP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dirty="0">
                <a:solidFill>
                  <a:srgbClr val="548235"/>
                </a:solidFill>
                <a:highlight>
                  <a:srgbClr val="000000">
                    <a:alpha val="0"/>
                  </a:srgbClr>
                </a:highlight>
                <a:uLnTx/>
                <a:uFillTx/>
                <a:latin typeface="Simsun"/>
                <a:ea typeface="Simsun"/>
                <a:cs typeface="Arial"/>
              </a:rPr>
              <a:t>全社会</a:t>
            </a:r>
          </a:p>
        </p:txBody>
      </p:sp>
      <p:sp>
        <p:nvSpPr>
          <p:cNvPr id="56" name="Rectangle: Rounded Corners 55">
            <a:extLst>
              <a:ext uri="{FF2B5EF4-FFF2-40B4-BE49-F238E27FC236}">
                <a16:creationId xmlns:a16="http://schemas.microsoft.com/office/drawing/2014/main" id="{DA19B36E-A229-5C05-8578-B32D23127261}"/>
              </a:ext>
            </a:extLst>
          </p:cNvPr>
          <p:cNvSpPr/>
          <p:nvPr/>
        </p:nvSpPr>
        <p:spPr>
          <a:xfrm>
            <a:off x="4454944" y="3084174"/>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特定风险</a:t>
            </a: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风险种类</a:t>
            </a:r>
          </a:p>
        </p:txBody>
      </p:sp>
      <p:cxnSp>
        <p:nvCxnSpPr>
          <p:cNvPr id="57" name="Straight Arrow Connector 56">
            <a:extLst>
              <a:ext uri="{FF2B5EF4-FFF2-40B4-BE49-F238E27FC236}">
                <a16:creationId xmlns:a16="http://schemas.microsoft.com/office/drawing/2014/main" id="{5E5DCF2B-AA38-8709-7BF1-0D19FBB6C4A2}"/>
              </a:ext>
            </a:extLst>
          </p:cNvPr>
          <p:cNvCxnSpPr/>
          <p:nvPr/>
        </p:nvCxnSpPr>
        <p:spPr>
          <a:xfrm flipH="1">
            <a:off x="8470205" y="3271832"/>
            <a:ext cx="1850799" cy="7258"/>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3366D8AD-3A5C-C43B-5C41-C0DE542D5C99}"/>
              </a:ext>
            </a:extLst>
          </p:cNvPr>
          <p:cNvCxnSpPr/>
          <p:nvPr/>
        </p:nvCxnSpPr>
        <p:spPr>
          <a:xfrm flipH="1">
            <a:off x="8457851" y="2687946"/>
            <a:ext cx="1863153" cy="4884"/>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CFFB0F1-6757-00B8-5690-BEAC0C44A0FB}"/>
              </a:ext>
            </a:extLst>
          </p:cNvPr>
          <p:cNvCxnSpPr/>
          <p:nvPr/>
        </p:nvCxnSpPr>
        <p:spPr>
          <a:xfrm flipH="1">
            <a:off x="8470205" y="1742838"/>
            <a:ext cx="1995968" cy="0"/>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C185151-A1A0-A2FD-7637-371EBD86DD49}"/>
              </a:ext>
            </a:extLst>
          </p:cNvPr>
          <p:cNvCxnSpPr/>
          <p:nvPr/>
        </p:nvCxnSpPr>
        <p:spPr>
          <a:xfrm flipH="1">
            <a:off x="8834189" y="1250994"/>
            <a:ext cx="1865856" cy="0"/>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3A0C7844-2FB7-C209-2368-D795B50A2558}"/>
              </a:ext>
            </a:extLst>
          </p:cNvPr>
          <p:cNvSpPr/>
          <p:nvPr/>
        </p:nvSpPr>
        <p:spPr>
          <a:xfrm>
            <a:off x="10241773" y="761394"/>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最高政府机构</a:t>
            </a: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PMO、Mol、MoCD</a:t>
            </a:r>
            <a:endParaRPr kumimoji="0" lang="en-US" sz="1100" b="1" i="0" u="none" strike="noStrike" kern="1200" cap="none" spc="0" normalizeH="0" baseline="0" noProof="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62" name="Rectangle: Rounded Corners 61">
            <a:extLst>
              <a:ext uri="{FF2B5EF4-FFF2-40B4-BE49-F238E27FC236}">
                <a16:creationId xmlns:a16="http://schemas.microsoft.com/office/drawing/2014/main" id="{F7DAE2D8-1260-ADA9-1D8F-E1BFCA7F387E}"/>
              </a:ext>
            </a:extLst>
          </p:cNvPr>
          <p:cNvSpPr/>
          <p:nvPr/>
        </p:nvSpPr>
        <p:spPr>
          <a:xfrm>
            <a:off x="10247674" y="1536723"/>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MoH</a:t>
            </a:r>
          </a:p>
        </p:txBody>
      </p:sp>
      <p:sp>
        <p:nvSpPr>
          <p:cNvPr id="63" name="Rectangle: Rounded Corners 62">
            <a:extLst>
              <a:ext uri="{FF2B5EF4-FFF2-40B4-BE49-F238E27FC236}">
                <a16:creationId xmlns:a16="http://schemas.microsoft.com/office/drawing/2014/main" id="{980188DF-4D88-BE3B-1876-AD39BB3E101B}"/>
              </a:ext>
            </a:extLst>
          </p:cNvPr>
          <p:cNvSpPr/>
          <p:nvPr/>
        </p:nvSpPr>
        <p:spPr>
          <a:xfrm>
            <a:off x="10249972" y="2397003"/>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MoH</a:t>
            </a:r>
          </a:p>
        </p:txBody>
      </p:sp>
      <p:sp>
        <p:nvSpPr>
          <p:cNvPr id="64" name="Rectangle: Rounded Corners 63">
            <a:extLst>
              <a:ext uri="{FF2B5EF4-FFF2-40B4-BE49-F238E27FC236}">
                <a16:creationId xmlns:a16="http://schemas.microsoft.com/office/drawing/2014/main" id="{992DC1AB-5557-2A93-8305-CA4B1CE24186}"/>
              </a:ext>
            </a:extLst>
          </p:cNvPr>
          <p:cNvSpPr/>
          <p:nvPr/>
        </p:nvSpPr>
        <p:spPr>
          <a:xfrm>
            <a:off x="10267082" y="3084174"/>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548235"/>
                </a:solidFill>
                <a:highlight>
                  <a:srgbClr val="000000">
                    <a:alpha val="0"/>
                  </a:srgbClr>
                </a:highlight>
                <a:uLnTx/>
                <a:uFillTx/>
                <a:latin typeface="Simsun"/>
                <a:ea typeface="Simsun"/>
                <a:cs typeface="Arial"/>
              </a:rPr>
              <a:t>国家/次国家/地方</a:t>
            </a:r>
          </a:p>
        </p:txBody>
      </p:sp>
      <p:sp>
        <p:nvSpPr>
          <p:cNvPr id="65" name="Rectangle: Rounded Corners 64">
            <a:extLst>
              <a:ext uri="{FF2B5EF4-FFF2-40B4-BE49-F238E27FC236}">
                <a16:creationId xmlns:a16="http://schemas.microsoft.com/office/drawing/2014/main" id="{0894FE51-5625-CE9D-C0C7-04EF1ED2F6B4}"/>
              </a:ext>
            </a:extLst>
          </p:cNvPr>
          <p:cNvSpPr/>
          <p:nvPr/>
        </p:nvSpPr>
        <p:spPr>
          <a:xfrm>
            <a:off x="4905054" y="4925699"/>
            <a:ext cx="6832558" cy="833427"/>
          </a:xfrm>
          <a:prstGeom prst="roundRect">
            <a:avLst>
              <a:gd name="adj" fmla="val 0"/>
            </a:avLst>
          </a:prstGeom>
          <a:solidFill>
            <a:srgbClr val="F2F2F2"/>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200" b="1" i="0" u="none" strike="noStrike" kern="1200" cap="none" spc="0" normalizeH="0" baseline="0" noProof="0">
                <a:solidFill>
                  <a:srgbClr val="548235"/>
                </a:solidFill>
                <a:highlight>
                  <a:srgbClr val="000000">
                    <a:alpha val="0"/>
                  </a:srgbClr>
                </a:highlight>
                <a:uLnTx/>
                <a:uFillTx/>
                <a:latin typeface="Simsun"/>
                <a:ea typeface="Simsun"/>
                <a:cs typeface="Arial"/>
              </a:rPr>
              <a:t>类型</a:t>
            </a:r>
          </a:p>
        </p:txBody>
      </p:sp>
      <p:grpSp>
        <p:nvGrpSpPr>
          <p:cNvPr id="66" name="Group 65">
            <a:extLst>
              <a:ext uri="{FF2B5EF4-FFF2-40B4-BE49-F238E27FC236}">
                <a16:creationId xmlns:a16="http://schemas.microsoft.com/office/drawing/2014/main" id="{AD1DB77C-C51E-83C3-7F06-84D2BFDDC18B}"/>
              </a:ext>
            </a:extLst>
          </p:cNvPr>
          <p:cNvGrpSpPr/>
          <p:nvPr/>
        </p:nvGrpSpPr>
        <p:grpSpPr>
          <a:xfrm>
            <a:off x="5036324" y="5211569"/>
            <a:ext cx="6593412" cy="414347"/>
            <a:chOff x="3385536" y="5940620"/>
            <a:chExt cx="6593412" cy="414347"/>
          </a:xfrm>
        </p:grpSpPr>
        <p:sp>
          <p:nvSpPr>
            <p:cNvPr id="67" name="Rectangle: Rounded Corners 66">
              <a:extLst>
                <a:ext uri="{FF2B5EF4-FFF2-40B4-BE49-F238E27FC236}">
                  <a16:creationId xmlns:a16="http://schemas.microsoft.com/office/drawing/2014/main" id="{4440E8D3-F121-12C2-49D3-0B71534C94C9}"/>
                </a:ext>
              </a:extLst>
            </p:cNvPr>
            <p:cNvSpPr/>
            <p:nvPr/>
          </p:nvSpPr>
          <p:spPr>
            <a:xfrm>
              <a:off x="8877348" y="5946962"/>
              <a:ext cx="1101600" cy="39750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4472C4"/>
                  </a:solidFill>
                  <a:highlight>
                    <a:srgbClr val="000000">
                      <a:alpha val="0"/>
                    </a:srgbClr>
                  </a:highlight>
                  <a:uLnTx/>
                  <a:uFillTx/>
                  <a:latin typeface="Simsun"/>
                  <a:ea typeface="Simsun"/>
                  <a:cs typeface="Arial"/>
                </a:rPr>
                <a:t>政策</a:t>
              </a:r>
            </a:p>
          </p:txBody>
        </p:sp>
        <p:sp>
          <p:nvSpPr>
            <p:cNvPr id="68" name="Rectangle: Rounded Corners 67">
              <a:extLst>
                <a:ext uri="{FF2B5EF4-FFF2-40B4-BE49-F238E27FC236}">
                  <a16:creationId xmlns:a16="http://schemas.microsoft.com/office/drawing/2014/main" id="{5053AD9F-63EA-948D-DDB3-B60A68A98B5B}"/>
                </a:ext>
              </a:extLst>
            </p:cNvPr>
            <p:cNvSpPr/>
            <p:nvPr/>
          </p:nvSpPr>
          <p:spPr>
            <a:xfrm>
              <a:off x="4672688" y="5940620"/>
              <a:ext cx="1901616" cy="404680"/>
            </a:xfrm>
            <a:prstGeom prst="roundRect">
              <a:avLst/>
            </a:prstGeom>
            <a:solidFill>
              <a:srgbClr val="DA115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FFFFFF"/>
                  </a:solidFill>
                  <a:highlight>
                    <a:srgbClr val="000000">
                      <a:alpha val="0"/>
                    </a:srgbClr>
                  </a:highlight>
                  <a:uLnTx/>
                  <a:uFillTx/>
                  <a:latin typeface="Simsun"/>
                  <a:ea typeface="Simsun"/>
                  <a:cs typeface="Arial"/>
                </a:rPr>
                <a:t>能力发展计划</a:t>
              </a:r>
            </a:p>
          </p:txBody>
        </p:sp>
        <p:sp>
          <p:nvSpPr>
            <p:cNvPr id="69" name="Rectangle: Rounded Corners 68">
              <a:extLst>
                <a:ext uri="{FF2B5EF4-FFF2-40B4-BE49-F238E27FC236}">
                  <a16:creationId xmlns:a16="http://schemas.microsoft.com/office/drawing/2014/main" id="{885D16DB-68A3-2641-5F98-2FC4616E1027}"/>
                </a:ext>
              </a:extLst>
            </p:cNvPr>
            <p:cNvSpPr/>
            <p:nvPr/>
          </p:nvSpPr>
          <p:spPr>
            <a:xfrm>
              <a:off x="6768600" y="5950287"/>
              <a:ext cx="1901616" cy="404680"/>
            </a:xfrm>
            <a:prstGeom prst="roundRect">
              <a:avLst/>
            </a:prstGeom>
            <a:solidFill>
              <a:srgbClr val="4472C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FFFFFF"/>
                  </a:solidFill>
                  <a:highlight>
                    <a:srgbClr val="000000">
                      <a:alpha val="0"/>
                    </a:srgbClr>
                  </a:highlight>
                  <a:uLnTx/>
                  <a:uFillTx/>
                  <a:latin typeface="Simsun"/>
                  <a:ea typeface="Simsun"/>
                  <a:cs typeface="Arial"/>
                </a:rPr>
                <a:t>应对行动计划</a:t>
              </a:r>
            </a:p>
          </p:txBody>
        </p:sp>
        <p:sp>
          <p:nvSpPr>
            <p:cNvPr id="70" name="Rectangle: Rounded Corners 69">
              <a:extLst>
                <a:ext uri="{FF2B5EF4-FFF2-40B4-BE49-F238E27FC236}">
                  <a16:creationId xmlns:a16="http://schemas.microsoft.com/office/drawing/2014/main" id="{CBA1AD5B-8854-1689-49A9-83B7951A3C62}"/>
                </a:ext>
              </a:extLst>
            </p:cNvPr>
            <p:cNvSpPr/>
            <p:nvPr/>
          </p:nvSpPr>
          <p:spPr>
            <a:xfrm>
              <a:off x="3385536" y="5950287"/>
              <a:ext cx="1099788" cy="404680"/>
            </a:xfrm>
            <a:prstGeom prst="round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100" b="1" i="0" u="none" strike="noStrike" kern="1200" cap="none" spc="0" normalizeH="0" baseline="0" noProof="0">
                  <a:solidFill>
                    <a:srgbClr val="000000"/>
                  </a:solidFill>
                  <a:highlight>
                    <a:srgbClr val="000000">
                      <a:alpha val="0"/>
                    </a:srgbClr>
                  </a:highlight>
                  <a:uLnTx/>
                  <a:uFillTx/>
                  <a:latin typeface="Simsun"/>
                  <a:ea typeface="Simsun"/>
                  <a:cs typeface="Arial"/>
                </a:rPr>
                <a:t>评估</a:t>
              </a:r>
            </a:p>
          </p:txBody>
        </p:sp>
      </p:grpSp>
      <p:sp>
        <p:nvSpPr>
          <p:cNvPr id="71" name="TextBox 70">
            <a:extLst>
              <a:ext uri="{FF2B5EF4-FFF2-40B4-BE49-F238E27FC236}">
                <a16:creationId xmlns:a16="http://schemas.microsoft.com/office/drawing/2014/main" id="{06BA554A-14AF-125E-03D1-5C4548CC6F9E}"/>
              </a:ext>
            </a:extLst>
          </p:cNvPr>
          <p:cNvSpPr txBox="1"/>
          <p:nvPr/>
        </p:nvSpPr>
        <p:spPr>
          <a:xfrm>
            <a:off x="4946978" y="6367465"/>
            <a:ext cx="3920139" cy="461665"/>
          </a:xfrm>
          <a:prstGeom prst="rect">
            <a:avLst/>
          </a:prstGeom>
          <a:noFill/>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800" b="0" i="0" u="none" strike="noStrike" kern="1200" cap="none" spc="0" normalizeH="0" baseline="0" noProof="0" dirty="0">
                <a:solidFill>
                  <a:srgbClr val="000000"/>
                </a:solidFill>
                <a:highlight>
                  <a:srgbClr val="000000">
                    <a:alpha val="0"/>
                  </a:srgbClr>
                </a:highlight>
                <a:uLnTx/>
                <a:uFillTx/>
                <a:latin typeface="Simsun"/>
                <a:ea typeface="Simsun"/>
                <a:cs typeface="Arial"/>
              </a:rPr>
              <a:t>NAPHS: 国家卫生安全行动计划</a:t>
            </a:r>
          </a:p>
          <a:p>
            <a:pPr marL="0" marR="0" lvl="0" indent="0" algn="l" defTabSz="914400" rtl="0" eaLnBrk="1" fontAlgn="auto" latinLnBrk="0" hangingPunct="1">
              <a:lnSpc>
                <a:spcPct val="100000"/>
              </a:lnSpc>
              <a:spcBef>
                <a:spcPct val="0"/>
              </a:spcBef>
              <a:spcAft>
                <a:spcPct val="0"/>
              </a:spcAft>
              <a:buClrTx/>
              <a:buSzTx/>
              <a:buFontTx/>
              <a:buNone/>
              <a:defRPr/>
            </a:pPr>
            <a:r>
              <a:rPr kumimoji="0" lang="zh-Hans" sz="800" b="0" i="0" u="none" strike="noStrike" kern="1200" cap="none" spc="0" normalizeH="0" baseline="0" noProof="0" dirty="0">
                <a:solidFill>
                  <a:srgbClr val="000000"/>
                </a:solidFill>
                <a:highlight>
                  <a:srgbClr val="000000">
                    <a:alpha val="0"/>
                  </a:srgbClr>
                </a:highlight>
                <a:uLnTx/>
                <a:uFillTx/>
                <a:latin typeface="Simsun"/>
                <a:ea typeface="Simsun"/>
                <a:cs typeface="Arial"/>
              </a:rPr>
              <a:t>NHEROP: 国家卫生应急行动计划</a:t>
            </a:r>
          </a:p>
          <a:p>
            <a:pPr marL="0" marR="0" lvl="0" indent="0" algn="l" defTabSz="914400" rtl="0" eaLnBrk="1" fontAlgn="auto" latinLnBrk="0" hangingPunct="1">
              <a:lnSpc>
                <a:spcPct val="100000"/>
              </a:lnSpc>
              <a:spcBef>
                <a:spcPct val="0"/>
              </a:spcBef>
              <a:spcAft>
                <a:spcPct val="0"/>
              </a:spcAft>
              <a:buClrTx/>
              <a:buSzTx/>
              <a:buFontTx/>
              <a:buNone/>
              <a:defRPr/>
            </a:pPr>
            <a:endPar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sp>
        <p:nvSpPr>
          <p:cNvPr id="72" name="TextBox 71">
            <a:extLst>
              <a:ext uri="{FF2B5EF4-FFF2-40B4-BE49-F238E27FC236}">
                <a16:creationId xmlns:a16="http://schemas.microsoft.com/office/drawing/2014/main" id="{1D227538-3FCD-ADC0-7A71-15C46ABA18B6}"/>
              </a:ext>
            </a:extLst>
          </p:cNvPr>
          <p:cNvSpPr txBox="1"/>
          <p:nvPr/>
        </p:nvSpPr>
        <p:spPr>
          <a:xfrm>
            <a:off x="8834189" y="6367465"/>
            <a:ext cx="2945347" cy="461665"/>
          </a:xfrm>
          <a:prstGeom prst="rect">
            <a:avLst/>
          </a:prstGeom>
          <a:noFill/>
        </p:spPr>
        <p:txBody>
          <a:bodyPr wrap="square">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800" b="0" i="0" u="none" strike="noStrike" kern="1200" cap="none" spc="0" normalizeH="0" baseline="0" noProof="0">
                <a:solidFill>
                  <a:srgbClr val="000000"/>
                </a:solidFill>
                <a:highlight>
                  <a:srgbClr val="000000">
                    <a:alpha val="0"/>
                  </a:srgbClr>
                </a:highlight>
                <a:uLnTx/>
                <a:uFillTx/>
                <a:latin typeface="Simsun"/>
                <a:ea typeface="Simsun"/>
                <a:cs typeface="Arial"/>
              </a:rPr>
              <a:t>PMO：总理办公室</a:t>
            </a:r>
          </a:p>
          <a:p>
            <a:pPr marL="0" marR="0" lvl="0" indent="0" algn="l" defTabSz="914400" rtl="0" eaLnBrk="1" fontAlgn="auto" latinLnBrk="0" hangingPunct="1">
              <a:lnSpc>
                <a:spcPct val="100000"/>
              </a:lnSpc>
              <a:spcBef>
                <a:spcPct val="0"/>
              </a:spcBef>
              <a:spcAft>
                <a:spcPct val="0"/>
              </a:spcAft>
              <a:buClrTx/>
              <a:buSzTx/>
              <a:buFontTx/>
              <a:buNone/>
              <a:defRPr/>
            </a:pPr>
            <a:r>
              <a:rPr kumimoji="0" lang="zh-Hans" sz="800" b="0" i="0" u="none" strike="noStrike" kern="1200" cap="none" spc="0" normalizeH="0" baseline="0" noProof="0">
                <a:solidFill>
                  <a:srgbClr val="000000"/>
                </a:solidFill>
                <a:highlight>
                  <a:srgbClr val="000000">
                    <a:alpha val="0"/>
                  </a:srgbClr>
                </a:highlight>
                <a:uLnTx/>
                <a:uFillTx/>
                <a:latin typeface="Simsun"/>
                <a:ea typeface="Simsun"/>
                <a:cs typeface="Arial"/>
              </a:rPr>
              <a:t>MoI: 内政部</a:t>
            </a:r>
          </a:p>
          <a:p>
            <a:pPr marL="0" marR="0" lvl="0" indent="0" algn="l" defTabSz="914400" rtl="0" eaLnBrk="1" fontAlgn="auto" latinLnBrk="0" hangingPunct="1">
              <a:lnSpc>
                <a:spcPct val="100000"/>
              </a:lnSpc>
              <a:spcBef>
                <a:spcPct val="0"/>
              </a:spcBef>
              <a:spcAft>
                <a:spcPct val="0"/>
              </a:spcAft>
              <a:buClrTx/>
              <a:buSzTx/>
              <a:buFontTx/>
              <a:buNone/>
              <a:defRPr/>
            </a:pPr>
            <a:r>
              <a:rPr kumimoji="0" lang="zh-Hans" sz="800" b="0" i="0" u="none" strike="noStrike" kern="1200" cap="none" spc="0" normalizeH="0" baseline="0" noProof="0">
                <a:solidFill>
                  <a:srgbClr val="000000"/>
                </a:solidFill>
                <a:highlight>
                  <a:srgbClr val="000000">
                    <a:alpha val="0"/>
                  </a:srgbClr>
                </a:highlight>
                <a:uLnTx/>
                <a:uFillTx/>
                <a:latin typeface="Simsun"/>
                <a:ea typeface="Simsun"/>
                <a:cs typeface="Arial"/>
              </a:rPr>
              <a:t>MoCD: 民防部</a:t>
            </a:r>
            <a:endParaRPr kumimoji="0" lang="en-US" sz="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cxnSp>
        <p:nvCxnSpPr>
          <p:cNvPr id="73" name="Connector: Elbow 72">
            <a:extLst>
              <a:ext uri="{FF2B5EF4-FFF2-40B4-BE49-F238E27FC236}">
                <a16:creationId xmlns:a16="http://schemas.microsoft.com/office/drawing/2014/main" id="{38043BDA-D60A-78DE-984A-5A575CF454D0}"/>
              </a:ext>
            </a:extLst>
          </p:cNvPr>
          <p:cNvCxnSpPr/>
          <p:nvPr/>
        </p:nvCxnSpPr>
        <p:spPr>
          <a:xfrm>
            <a:off x="6833286" y="1742838"/>
            <a:ext cx="756795" cy="388703"/>
          </a:xfrm>
          <a:prstGeom prst="bentConnector3">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29557AE-ED26-AD06-44D8-2B390FEBB516}"/>
              </a:ext>
            </a:extLst>
          </p:cNvPr>
          <p:cNvCxnSpPr/>
          <p:nvPr/>
        </p:nvCxnSpPr>
        <p:spPr>
          <a:xfrm rot="10800000" flipV="1">
            <a:off x="8470205" y="1743888"/>
            <a:ext cx="396912" cy="373180"/>
          </a:xfrm>
          <a:prstGeom prst="bentConnector3">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009659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0" name="OLE substitute imag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Documenttype">
            <a:extLst>
              <a:ext uri="{FF2B5EF4-FFF2-40B4-BE49-F238E27FC236}">
                <a16:creationId xmlns:a16="http://schemas.microsoft.com/office/drawing/2014/main" id="{C77EDD2F-62F5-42DD-AB67-9E0454CEEF1D}"/>
              </a:ext>
            </a:extLst>
          </p:cNvPr>
          <p:cNvSpPr>
            <a:spLocks noGrp="1"/>
          </p:cNvSpPr>
          <p:nvPr>
            <p:ph type="body" sz="quarter" idx="13"/>
            <p:custDataLst>
              <p:tags r:id="rId2"/>
            </p:custDataLst>
          </p:nvPr>
        </p:nvSpPr>
        <p:spPr>
          <a:xfrm>
            <a:off x="3509065" y="6186486"/>
            <a:ext cx="8281261" cy="215444"/>
          </a:xfrm>
          <a:noFill/>
          <a:extLst>
            <a:ext uri="{909E8E84-426E-40DD-AFC4-6F175D3DCCD1}">
              <a14:hiddenFill xmlns:a14="http://schemas.microsoft.com/office/drawing/2010/main">
                <a:solidFill>
                  <a:srgbClr val="FFFFFF"/>
                </a:solidFill>
              </a14:hiddenFill>
            </a:ext>
          </a:extLst>
        </p:spPr>
        <p:txBody>
          <a:bodyPr wrap="square" anchor="t" anchorCtr="0">
            <a:noAutofit/>
          </a:bodyPr>
          <a:lstStyle/>
          <a:p>
            <a:pPr marL="0" indent="0">
              <a:buNone/>
            </a:pPr>
            <a:endParaRPr lang="en-US"/>
          </a:p>
        </p:txBody>
      </p:sp>
      <p:sp>
        <p:nvSpPr>
          <p:cNvPr id="3" name="Title">
            <a:extLst>
              <a:ext uri="{FF2B5EF4-FFF2-40B4-BE49-F238E27FC236}">
                <a16:creationId xmlns:a16="http://schemas.microsoft.com/office/drawing/2014/main" id="{AC191921-D073-4F0B-9651-2824DD5A8CAD}"/>
              </a:ext>
            </a:extLst>
          </p:cNvPr>
          <p:cNvSpPr>
            <a:spLocks noGrp="1"/>
          </p:cNvSpPr>
          <p:nvPr>
            <p:ph type="title"/>
            <p:custDataLst>
              <p:tags r:id="rId3"/>
            </p:custDataLst>
          </p:nvPr>
        </p:nvSpPr>
        <p:spPr>
          <a:xfrm>
            <a:off x="1417739" y="1812751"/>
            <a:ext cx="10379079" cy="2031325"/>
          </a:xfrm>
          <a:noFill/>
          <a:extLst>
            <a:ext uri="{909E8E84-426E-40DD-AFC4-6F175D3DCCD1}">
              <a14:hiddenFill xmlns:a14="http://schemas.microsoft.com/office/drawing/2010/main">
                <a:solidFill>
                  <a:srgbClr val="FFFFFF"/>
                </a:solidFill>
              </a14:hiddenFill>
            </a:ext>
          </a:extLst>
        </p:spPr>
        <p:txBody>
          <a:bodyPr vert="horz" wrap="square" anchor="b" anchorCtr="0">
            <a:noAutofit/>
          </a:bodyPr>
          <a:lstStyle/>
          <a:p>
            <a:pPr rtl="0"/>
            <a:r>
              <a:rPr lang="zh-Hans" sz="4400" b="0" i="0" u="none" strike="noStrike" dirty="0">
                <a:solidFill>
                  <a:srgbClr val="FFFFFF"/>
                </a:solidFill>
                <a:highlight>
                  <a:srgbClr val="000000">
                    <a:alpha val="0"/>
                  </a:srgbClr>
                </a:highlight>
                <a:latin typeface="Simsun"/>
                <a:ea typeface="Simsun"/>
              </a:rPr>
              <a:t>加强全球</a:t>
            </a:r>
            <a:br>
              <a:rPr lang="zh-Hans" sz="4400" b="0" i="0" u="none" strike="noStrike" dirty="0">
                <a:solidFill>
                  <a:srgbClr val="FFFFFF"/>
                </a:solidFill>
                <a:highlight>
                  <a:srgbClr val="000000">
                    <a:alpha val="0"/>
                  </a:srgbClr>
                </a:highlight>
                <a:latin typeface="Simsun"/>
                <a:ea typeface="Simsun"/>
              </a:rPr>
            </a:br>
            <a:r>
              <a:rPr lang="zh-Hans" sz="4400" b="0" i="0" u="none" strike="noStrike" dirty="0">
                <a:solidFill>
                  <a:srgbClr val="FFFFFF"/>
                </a:solidFill>
                <a:highlight>
                  <a:srgbClr val="000000">
                    <a:alpha val="0"/>
                  </a:srgbClr>
                </a:highlight>
                <a:latin typeface="Simsun"/>
                <a:ea typeface="Simsun"/>
              </a:rPr>
              <a:t>卫生</a:t>
            </a:r>
            <a:r>
              <a:rPr lang="zh-CN" altLang="en-US" dirty="0">
                <a:solidFill>
                  <a:srgbClr val="FFFFFF"/>
                </a:solidFill>
                <a:highlight>
                  <a:srgbClr val="000000">
                    <a:alpha val="0"/>
                  </a:srgbClr>
                </a:highlight>
                <a:latin typeface="Simsun"/>
                <a:ea typeface="Simsun"/>
              </a:rPr>
              <a:t>突发事件</a:t>
            </a:r>
            <a:r>
              <a:rPr lang="zh-Hans" sz="4400" b="0" i="0" u="none" strike="noStrike" dirty="0">
                <a:solidFill>
                  <a:srgbClr val="FFFFFF"/>
                </a:solidFill>
                <a:highlight>
                  <a:srgbClr val="000000">
                    <a:alpha val="0"/>
                  </a:srgbClr>
                </a:highlight>
                <a:latin typeface="Simsun"/>
                <a:ea typeface="Simsun"/>
              </a:rPr>
              <a:t>准备和应对架构（HEPR）</a:t>
            </a:r>
          </a:p>
        </p:txBody>
      </p:sp>
      <p:sp>
        <p:nvSpPr>
          <p:cNvPr id="4" name="Subtitle 3">
            <a:extLst>
              <a:ext uri="{FF2B5EF4-FFF2-40B4-BE49-F238E27FC236}">
                <a16:creationId xmlns:a16="http://schemas.microsoft.com/office/drawing/2014/main" id="{1990A93F-91DA-A044-935A-6FFCAC2F0297}"/>
              </a:ext>
            </a:extLst>
          </p:cNvPr>
          <p:cNvSpPr>
            <a:spLocks noGrp="1"/>
          </p:cNvSpPr>
          <p:nvPr>
            <p:ph type="subTitle" idx="1"/>
          </p:nvPr>
        </p:nvSpPr>
        <p:spPr/>
        <p:txBody>
          <a:bodyPr>
            <a:noAutofit/>
          </a:bodyPr>
          <a:lstStyle/>
          <a:p>
            <a:endParaRPr lang="en-FI"/>
          </a:p>
        </p:txBody>
      </p:sp>
    </p:spTree>
    <p:extLst>
      <p:ext uri="{BB962C8B-B14F-4D97-AF65-F5344CB8AC3E}">
        <p14:creationId xmlns:p14="http://schemas.microsoft.com/office/powerpoint/2010/main" val="76822540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E51E17-417E-4026-84DC-FC90B87C027B}"/>
              </a:ext>
            </a:extLst>
          </p:cNvPr>
          <p:cNvSpPr/>
          <p:nvPr/>
        </p:nvSpPr>
        <p:spPr>
          <a:xfrm>
            <a:off x="7146524" y="3176"/>
            <a:ext cx="5045476" cy="685482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0" name="OLE substitute imag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5" name="2. Slide Title">
            <a:extLst>
              <a:ext uri="{FF2B5EF4-FFF2-40B4-BE49-F238E27FC236}">
                <a16:creationId xmlns:a16="http://schemas.microsoft.com/office/drawing/2014/main" id="{F1D8048E-C766-489C-B6F7-98C098CF7915}"/>
              </a:ext>
            </a:extLst>
          </p:cNvPr>
          <p:cNvSpPr txBox="1"/>
          <p:nvPr>
            <p:custDataLst>
              <p:tags r:id="rId2"/>
            </p:custDataLst>
          </p:nvPr>
        </p:nvSpPr>
        <p:spPr>
          <a:xfrm>
            <a:off x="462281" y="599943"/>
            <a:ext cx="5506717"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0"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2500" b="0" i="0" u="none" strike="noStrike" kern="1200" cap="none" spc="0" normalizeH="0" baseline="0" noProof="0" dirty="0">
                <a:solidFill>
                  <a:srgbClr val="002060"/>
                </a:solidFill>
                <a:highlight>
                  <a:srgbClr val="000000">
                    <a:alpha val="0"/>
                  </a:srgbClr>
                </a:highlight>
                <a:uLnTx/>
                <a:uFillTx/>
                <a:latin typeface="Simsun"/>
                <a:ea typeface="Simsun"/>
                <a:cs typeface="+mj-cs"/>
              </a:rPr>
              <a:t>关于这一主题的几份报告已经发表，旨在加强HEPR生态的其他平行</a:t>
            </a:r>
            <a:r>
              <a:rPr lang="zh-CN" altLang="en-US" dirty="0">
                <a:solidFill>
                  <a:srgbClr val="002060"/>
                </a:solidFill>
                <a:highlight>
                  <a:srgbClr val="000000">
                    <a:alpha val="0"/>
                  </a:srgbClr>
                </a:highlight>
                <a:latin typeface="Simsun"/>
                <a:ea typeface="Simsun"/>
              </a:rPr>
              <a:t>进程</a:t>
            </a:r>
            <a:r>
              <a:rPr kumimoji="0" lang="zh-Hans" sz="2500" b="0" i="0" u="none" strike="noStrike" kern="1200" cap="none" spc="0" normalizeH="0" baseline="0" noProof="0" dirty="0">
                <a:solidFill>
                  <a:srgbClr val="002060"/>
                </a:solidFill>
                <a:highlight>
                  <a:srgbClr val="000000">
                    <a:alpha val="0"/>
                  </a:srgbClr>
                </a:highlight>
                <a:uLnTx/>
                <a:uFillTx/>
                <a:latin typeface="Simsun"/>
                <a:ea typeface="Simsun"/>
                <a:cs typeface="+mj-cs"/>
              </a:rPr>
              <a:t>已经推出</a:t>
            </a:r>
          </a:p>
        </p:txBody>
      </p:sp>
      <p:sp>
        <p:nvSpPr>
          <p:cNvPr id="96" name="Title 2">
            <a:extLst>
              <a:ext uri="{FF2B5EF4-FFF2-40B4-BE49-F238E27FC236}">
                <a16:creationId xmlns:a16="http://schemas.microsoft.com/office/drawing/2014/main" id="{F6E1DD40-BEE9-4F1C-88D2-CEC722BD4516}"/>
              </a:ext>
            </a:extLst>
          </p:cNvPr>
          <p:cNvSpPr txBox="1"/>
          <p:nvPr/>
        </p:nvSpPr>
        <p:spPr>
          <a:xfrm>
            <a:off x="7723573" y="6014241"/>
            <a:ext cx="3940000" cy="610198"/>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ct val="0"/>
              </a:spcAft>
              <a:buNone/>
              <a:defRPr sz="3400" b="0" i="0" u="none" kern="1200" spc="0">
                <a:solidFill>
                  <a:schemeClr val="tx2">
                    <a:lumMod val="100000"/>
                  </a:schemeClr>
                </a:solidFill>
                <a:latin typeface="+mj-lt"/>
                <a:ea typeface="+mj-ea"/>
                <a:cs typeface="+mj-cs"/>
                <a:sym typeface="+mj-lt"/>
              </a:defRPr>
            </a:lvl1pPr>
          </a:lstStyle>
          <a:p>
            <a:pPr algn="ctr" rtl="0">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j-cs"/>
                <a:sym typeface="+mj-lt"/>
              </a:rPr>
              <a:t>这些报告都着重指出了主要系统缺口</a:t>
            </a:r>
          </a:p>
          <a:p>
            <a:pPr marL="0" marR="0" lvl="0" indent="0" algn="ctr" defTabSz="914400" rtl="0" eaLnBrk="1" fontAlgn="auto" latinLnBrk="0" hangingPunct="1">
              <a:lnSpc>
                <a:spcPct val="9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j-cs"/>
                <a:sym typeface="+mj-lt"/>
              </a:rPr>
              <a:t>这些系统缺口需要有适当的融资和治理来解决</a:t>
            </a:r>
          </a:p>
        </p:txBody>
      </p:sp>
      <p:pic>
        <p:nvPicPr>
          <p:cNvPr id="97" name="Picture 96">
            <a:extLst>
              <a:ext uri="{FF2B5EF4-FFF2-40B4-BE49-F238E27FC236}">
                <a16:creationId xmlns:a16="http://schemas.microsoft.com/office/drawing/2014/main" id="{9AF433F1-2793-49E3-A27A-4C33A1E06530}"/>
              </a:ext>
            </a:extLst>
          </p:cNvPr>
          <p:cNvPicPr>
            <a:picLocks noChangeAspect="1"/>
          </p:cNvPicPr>
          <p:nvPr/>
        </p:nvPicPr>
        <p:blipFill>
          <a:blip r:embed="rId8"/>
          <a:stretch>
            <a:fillRect/>
          </a:stretch>
        </p:blipFill>
        <p:spPr>
          <a:xfrm>
            <a:off x="7484457" y="1756129"/>
            <a:ext cx="4305039" cy="4162488"/>
          </a:xfrm>
          <a:prstGeom prst="rect">
            <a:avLst/>
          </a:prstGeom>
        </p:spPr>
      </p:pic>
      <p:sp>
        <p:nvSpPr>
          <p:cNvPr id="98" name="Title 2">
            <a:extLst>
              <a:ext uri="{FF2B5EF4-FFF2-40B4-BE49-F238E27FC236}">
                <a16:creationId xmlns:a16="http://schemas.microsoft.com/office/drawing/2014/main" id="{2AC3F51A-236B-444B-ABF8-0CD88724B7CC}"/>
              </a:ext>
            </a:extLst>
          </p:cNvPr>
          <p:cNvSpPr txBox="1"/>
          <p:nvPr/>
        </p:nvSpPr>
        <p:spPr>
          <a:xfrm>
            <a:off x="7959554" y="1070606"/>
            <a:ext cx="3354843" cy="521714"/>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ct val="0"/>
              </a:spcAft>
              <a:buNone/>
              <a:defRPr sz="3400" b="0" i="0" u="none" kern="1200" spc="0">
                <a:solidFill>
                  <a:schemeClr val="tx2">
                    <a:lumMod val="100000"/>
                  </a:schemeClr>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j-cs"/>
                <a:sym typeface="+mj-lt"/>
              </a:rPr>
              <a:t>这些报告都着重指出了主要系统缺口</a:t>
            </a:r>
          </a:p>
        </p:txBody>
      </p:sp>
      <p:sp>
        <p:nvSpPr>
          <p:cNvPr id="99" name="4. Footnote">
            <a:extLst>
              <a:ext uri="{FF2B5EF4-FFF2-40B4-BE49-F238E27FC236}">
                <a16:creationId xmlns:a16="http://schemas.microsoft.com/office/drawing/2014/main" id="{653133FB-4EBF-4FBD-89E2-FFD508CBED15}"/>
              </a:ext>
            </a:extLst>
          </p:cNvPr>
          <p:cNvSpPr txBox="1"/>
          <p:nvPr>
            <p:custDataLst>
              <p:tags r:id="rId3"/>
            </p:custDataLst>
          </p:nvPr>
        </p:nvSpPr>
        <p:spPr>
          <a:xfrm>
            <a:off x="163307" y="6526496"/>
            <a:ext cx="5805690" cy="24622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ct val="0"/>
              </a:spcBef>
              <a:spcAft>
                <a:spcPct val="0"/>
              </a:spcAft>
              <a:buClrTx/>
              <a:buSzTx/>
              <a:buFontTx/>
              <a:buNone/>
              <a:defRPr sz="800">
                <a:cs typeface="Arial" panose="020B0604020202020204" pitchFamily="34" charset="0"/>
              </a:defRPr>
            </a:lvl1pPr>
          </a:lstStyle>
          <a:p>
            <a:pPr marL="219075" marR="0" lvl="0" indent="-228600" defTabSz="914400" rtl="0" eaLnBrk="1" fontAlgn="auto" latinLnBrk="0" hangingPunct="1">
              <a:lnSpc>
                <a:spcPct val="100000"/>
              </a:lnSpc>
              <a:spcBef>
                <a:spcPct val="0"/>
              </a:spcBef>
              <a:spcAft>
                <a:spcPct val="0"/>
              </a:spcAft>
              <a:buClrTx/>
              <a:buSzTx/>
              <a:buFontTx/>
              <a:buAutoNum type="arabicPeriod"/>
              <a:defRPr/>
            </a:pPr>
            <a:r>
              <a:rPr kumimoji="0" lang="zh-Hans" sz="800" b="0" i="0" u="none" strike="noStrike" kern="0" cap="none" spc="0" normalizeH="0" baseline="0" noProof="0">
                <a:solidFill>
                  <a:srgbClr val="000000"/>
                </a:solidFill>
                <a:highlight>
                  <a:srgbClr val="000000">
                    <a:alpha val="0"/>
                  </a:srgbClr>
                </a:highlight>
                <a:uLnTx/>
                <a:uFillTx/>
                <a:latin typeface="Simsun"/>
                <a:ea typeface="Simsun"/>
                <a:cs typeface="Arial"/>
              </a:rPr>
              <a:t>加强大流行病预防、准备和应对的政府间谈判机构（INB），加强世卫组织准备和应对卫生突发事件成员国工作组（WGPR）	</a:t>
            </a:r>
          </a:p>
        </p:txBody>
      </p:sp>
      <p:grpSp>
        <p:nvGrpSpPr>
          <p:cNvPr id="100" name="Group 99">
            <a:extLst>
              <a:ext uri="{FF2B5EF4-FFF2-40B4-BE49-F238E27FC236}">
                <a16:creationId xmlns:a16="http://schemas.microsoft.com/office/drawing/2014/main" id="{9FF00684-C9E8-4666-94C6-01C6F2DC1349}"/>
              </a:ext>
            </a:extLst>
          </p:cNvPr>
          <p:cNvGrpSpPr>
            <a:grpSpLocks noChangeAspect="1"/>
          </p:cNvGrpSpPr>
          <p:nvPr/>
        </p:nvGrpSpPr>
        <p:grpSpPr>
          <a:xfrm>
            <a:off x="5148423" y="3099511"/>
            <a:ext cx="1515394" cy="1356972"/>
            <a:chOff x="5273675" y="2606675"/>
            <a:chExt cx="1646238" cy="1644650"/>
          </a:xfrm>
        </p:grpSpPr>
        <p:sp>
          <p:nvSpPr>
            <p:cNvPr id="101" name="AutoShape 3">
              <a:extLst>
                <a:ext uri="{FF2B5EF4-FFF2-40B4-BE49-F238E27FC236}">
                  <a16:creationId xmlns:a16="http://schemas.microsoft.com/office/drawing/2014/main" id="{2B86BE20-802E-47EE-B054-E902DD308D0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grpSp>
          <p:nvGrpSpPr>
            <p:cNvPr id="102" name="Group 101">
              <a:extLst>
                <a:ext uri="{FF2B5EF4-FFF2-40B4-BE49-F238E27FC236}">
                  <a16:creationId xmlns:a16="http://schemas.microsoft.com/office/drawing/2014/main" id="{8D0DCEB6-82F6-4B61-8E4E-587CBB67C071}"/>
                </a:ext>
              </a:extLst>
            </p:cNvPr>
            <p:cNvGrpSpPr/>
            <p:nvPr/>
          </p:nvGrpSpPr>
          <p:grpSpPr>
            <a:xfrm>
              <a:off x="5651500" y="2971800"/>
              <a:ext cx="892175" cy="1109663"/>
              <a:chOff x="5651500" y="2971800"/>
              <a:chExt cx="892175" cy="1109663"/>
            </a:xfrm>
          </p:grpSpPr>
          <p:sp>
            <p:nvSpPr>
              <p:cNvPr id="103" name="Freeform 20">
                <a:extLst>
                  <a:ext uri="{FF2B5EF4-FFF2-40B4-BE49-F238E27FC236}">
                    <a16:creationId xmlns:a16="http://schemas.microsoft.com/office/drawing/2014/main" id="{BFBBAE41-ACDE-4D4C-8F42-DE935B5108E2}"/>
                  </a:ext>
                </a:extLst>
              </p:cNvPr>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0012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sp>
            <p:nvSpPr>
              <p:cNvPr id="104" name="Freeform 21">
                <a:extLst>
                  <a:ext uri="{FF2B5EF4-FFF2-40B4-BE49-F238E27FC236}">
                    <a16:creationId xmlns:a16="http://schemas.microsoft.com/office/drawing/2014/main" id="{709CAF62-E58C-4E24-B178-22770A7CE35C}"/>
                  </a:ext>
                </a:extLst>
              </p:cNvPr>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endParaRPr>
              </a:p>
            </p:txBody>
          </p:sp>
        </p:grpSp>
      </p:grpSp>
      <p:sp>
        <p:nvSpPr>
          <p:cNvPr id="125" name="TextBox 124">
            <a:extLst>
              <a:ext uri="{FF2B5EF4-FFF2-40B4-BE49-F238E27FC236}">
                <a16:creationId xmlns:a16="http://schemas.microsoft.com/office/drawing/2014/main" id="{CEBFF1FD-9584-446D-844C-8CAA8E8AB231}"/>
              </a:ext>
            </a:extLst>
          </p:cNvPr>
          <p:cNvSpPr txBox="1"/>
          <p:nvPr/>
        </p:nvSpPr>
        <p:spPr>
          <a:xfrm>
            <a:off x="5442495" y="2766455"/>
            <a:ext cx="994292"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2000" b="1" i="0" u="none" strike="noStrike" kern="0" cap="none" spc="0" normalizeH="0" baseline="0" noProof="0">
                <a:solidFill>
                  <a:srgbClr val="000000"/>
                </a:solidFill>
                <a:highlight>
                  <a:srgbClr val="000000">
                    <a:alpha val="0"/>
                  </a:srgbClr>
                </a:highlight>
                <a:uLnTx/>
                <a:uFillTx/>
                <a:latin typeface="Simsun"/>
                <a:ea typeface="Simsun"/>
              </a:rPr>
              <a:t>+300</a:t>
            </a:r>
          </a:p>
          <a:p>
            <a:pPr marL="0" marR="0" lvl="0" indent="0" algn="ctr" defTabSz="914400" rtl="0" eaLnBrk="1" fontAlgn="auto" latinLnBrk="0" hangingPunct="1">
              <a:lnSpc>
                <a:spcPct val="100000"/>
              </a:lnSpc>
              <a:spcBef>
                <a:spcPct val="0"/>
              </a:spcBef>
              <a:spcAft>
                <a:spcPct val="0"/>
              </a:spcAft>
              <a:buClrTx/>
              <a:buSzTx/>
              <a:buFontTx/>
              <a:buNone/>
              <a:defRPr/>
            </a:pPr>
            <a:r>
              <a:rPr kumimoji="0" lang="zh-Hans" sz="2000" b="1" i="0" u="none" strike="noStrike" kern="0" cap="none" spc="0" normalizeH="0" baseline="0" noProof="0">
                <a:solidFill>
                  <a:srgbClr val="000000"/>
                </a:solidFill>
                <a:highlight>
                  <a:srgbClr val="000000">
                    <a:alpha val="0"/>
                  </a:srgbClr>
                </a:highlight>
                <a:uLnTx/>
                <a:uFillTx/>
                <a:latin typeface="Simsun"/>
                <a:ea typeface="Simsun"/>
              </a:rPr>
              <a:t>建议</a:t>
            </a:r>
            <a:endParaRPr kumimoji="0" lang="en-US" sz="2000" b="1" i="0" u="none" strike="noStrike" kern="0" cap="none" spc="0" normalizeH="0" baseline="0" noProof="0">
              <a:ln>
                <a:noFill/>
              </a:ln>
              <a:solidFill>
                <a:srgbClr val="000000"/>
              </a:solidFill>
              <a:effectLst/>
              <a:uLnTx/>
              <a:uFillTx/>
            </a:endParaRPr>
          </a:p>
        </p:txBody>
      </p:sp>
      <p:cxnSp>
        <p:nvCxnSpPr>
          <p:cNvPr id="130" name="Straight Connector 129">
            <a:extLst>
              <a:ext uri="{FF2B5EF4-FFF2-40B4-BE49-F238E27FC236}">
                <a16:creationId xmlns:a16="http://schemas.microsoft.com/office/drawing/2014/main" id="{F45256BB-DFB3-490A-ACA8-FA642F0373CB}"/>
              </a:ext>
            </a:extLst>
          </p:cNvPr>
          <p:cNvCxnSpPr/>
          <p:nvPr/>
        </p:nvCxnSpPr>
        <p:spPr>
          <a:xfrm flipH="1">
            <a:off x="4667704" y="1883218"/>
            <a:ext cx="0" cy="2205780"/>
          </a:xfrm>
          <a:prstGeom prst="line">
            <a:avLst/>
          </a:prstGeom>
          <a:noFill/>
          <a:ln w="28575" cap="rnd" cmpd="sng" algn="ctr">
            <a:solidFill>
              <a:srgbClr val="04A4EC"/>
            </a:solidFill>
            <a:prstDash val="solid"/>
            <a:round/>
          </a:ln>
          <a:effectLst/>
        </p:spPr>
      </p:cxnSp>
      <p:sp>
        <p:nvSpPr>
          <p:cNvPr id="131" name="TextBox 130">
            <a:extLst>
              <a:ext uri="{FF2B5EF4-FFF2-40B4-BE49-F238E27FC236}">
                <a16:creationId xmlns:a16="http://schemas.microsoft.com/office/drawing/2014/main" id="{D5563F17-6F68-4AF5-9DE6-0E3280734ED6}"/>
              </a:ext>
            </a:extLst>
          </p:cNvPr>
          <p:cNvSpPr txBox="1"/>
          <p:nvPr/>
        </p:nvSpPr>
        <p:spPr>
          <a:xfrm>
            <a:off x="336862" y="2155915"/>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GPMB和IOAC报告</a:t>
            </a:r>
            <a:endParaRPr kumimoji="0" lang="en-US" sz="1600" b="0" i="0" u="none" strike="noStrike" kern="0" cap="none" spc="0" normalizeH="0" baseline="0" noProof="0">
              <a:ln>
                <a:noFill/>
              </a:ln>
              <a:solidFill>
                <a:srgbClr val="000000"/>
              </a:solidFill>
              <a:effectLst/>
              <a:uLnTx/>
              <a:uFillTx/>
            </a:endParaRPr>
          </a:p>
        </p:txBody>
      </p:sp>
      <p:sp>
        <p:nvSpPr>
          <p:cNvPr id="132" name="TextBox 131">
            <a:extLst>
              <a:ext uri="{FF2B5EF4-FFF2-40B4-BE49-F238E27FC236}">
                <a16:creationId xmlns:a16="http://schemas.microsoft.com/office/drawing/2014/main" id="{5080223A-4A80-47DB-A4CC-FEED9453A7FE}"/>
              </a:ext>
            </a:extLst>
          </p:cNvPr>
          <p:cNvSpPr txBox="1"/>
          <p:nvPr/>
        </p:nvSpPr>
        <p:spPr>
          <a:xfrm>
            <a:off x="336862" y="3454442"/>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高级别独立专家组报告</a:t>
            </a:r>
            <a:endParaRPr kumimoji="0" lang="en-US" sz="1600" b="0" i="0" u="none" strike="noStrike" kern="0" cap="none" spc="0" normalizeH="0" baseline="0" noProof="0">
              <a:ln>
                <a:noFill/>
              </a:ln>
              <a:solidFill>
                <a:srgbClr val="000000"/>
              </a:solidFill>
              <a:effectLst/>
              <a:uLnTx/>
              <a:uFillTx/>
            </a:endParaRPr>
          </a:p>
        </p:txBody>
      </p:sp>
      <p:sp>
        <p:nvSpPr>
          <p:cNvPr id="133" name="TextBox 132">
            <a:extLst>
              <a:ext uri="{FF2B5EF4-FFF2-40B4-BE49-F238E27FC236}">
                <a16:creationId xmlns:a16="http://schemas.microsoft.com/office/drawing/2014/main" id="{0A0CE744-6839-4E55-B5FE-73DFC0AE9DD7}"/>
              </a:ext>
            </a:extLst>
          </p:cNvPr>
          <p:cNvSpPr txBox="1"/>
          <p:nvPr/>
        </p:nvSpPr>
        <p:spPr>
          <a:xfrm>
            <a:off x="336862" y="3015882"/>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关于卫生和</a:t>
            </a:r>
            <a:br>
              <a:rPr kumimoji="0" lang="zh-Hans" sz="1600" b="0" i="0" u="none" strike="noStrike" kern="0" cap="none" spc="0" normalizeH="0" baseline="0" noProof="0">
                <a:solidFill>
                  <a:srgbClr val="000000"/>
                </a:solidFill>
                <a:highlight>
                  <a:srgbClr val="000000">
                    <a:alpha val="0"/>
                  </a:srgbClr>
                </a:highlight>
                <a:uLnTx/>
                <a:uFillTx/>
                <a:latin typeface="Simsun"/>
                <a:ea typeface="Simsun"/>
              </a:rPr>
            </a:b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可持续发展问题的泛欧委员会</a:t>
            </a:r>
          </a:p>
        </p:txBody>
      </p:sp>
      <p:cxnSp>
        <p:nvCxnSpPr>
          <p:cNvPr id="134" name="Straight Connector 133">
            <a:extLst>
              <a:ext uri="{FF2B5EF4-FFF2-40B4-BE49-F238E27FC236}">
                <a16:creationId xmlns:a16="http://schemas.microsoft.com/office/drawing/2014/main" id="{55189258-CB03-4B22-B7E0-3402ED320D9A}"/>
              </a:ext>
            </a:extLst>
          </p:cNvPr>
          <p:cNvCxnSpPr/>
          <p:nvPr/>
        </p:nvCxnSpPr>
        <p:spPr>
          <a:xfrm>
            <a:off x="4091349" y="2327045"/>
            <a:ext cx="576355" cy="0"/>
          </a:xfrm>
          <a:prstGeom prst="line">
            <a:avLst/>
          </a:prstGeom>
          <a:noFill/>
          <a:ln w="28575" cap="rnd" cmpd="sng" algn="ctr">
            <a:solidFill>
              <a:srgbClr val="04A4EC"/>
            </a:solidFill>
            <a:prstDash val="solid"/>
            <a:headEnd type="oval"/>
          </a:ln>
          <a:effectLst/>
        </p:spPr>
      </p:cxnSp>
      <p:sp>
        <p:nvSpPr>
          <p:cNvPr id="135" name="TextBox 134">
            <a:extLst>
              <a:ext uri="{FF2B5EF4-FFF2-40B4-BE49-F238E27FC236}">
                <a16:creationId xmlns:a16="http://schemas.microsoft.com/office/drawing/2014/main" id="{13EC7F53-3845-4528-99C4-5490F0BCED5D}"/>
              </a:ext>
            </a:extLst>
          </p:cNvPr>
          <p:cNvSpPr txBox="1"/>
          <p:nvPr/>
        </p:nvSpPr>
        <p:spPr>
          <a:xfrm>
            <a:off x="336862" y="4330876"/>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INB和WGPR进程1</a:t>
            </a:r>
            <a:endParaRPr kumimoji="0" lang="en-US" sz="1600" b="0" i="0" u="none" strike="noStrike" kern="0" cap="none" spc="0" normalizeH="0" baseline="30000" noProof="0">
              <a:ln>
                <a:noFill/>
              </a:ln>
              <a:solidFill>
                <a:srgbClr val="000000"/>
              </a:solidFill>
              <a:effectLst/>
              <a:uLnTx/>
              <a:uFillTx/>
            </a:endParaRPr>
          </a:p>
        </p:txBody>
      </p:sp>
      <p:cxnSp>
        <p:nvCxnSpPr>
          <p:cNvPr id="136" name="Straight Connector 135">
            <a:extLst>
              <a:ext uri="{FF2B5EF4-FFF2-40B4-BE49-F238E27FC236}">
                <a16:creationId xmlns:a16="http://schemas.microsoft.com/office/drawing/2014/main" id="{5C66B816-4A19-46D6-8EE0-8E73F4A674A6}"/>
              </a:ext>
            </a:extLst>
          </p:cNvPr>
          <p:cNvCxnSpPr/>
          <p:nvPr/>
        </p:nvCxnSpPr>
        <p:spPr>
          <a:xfrm>
            <a:off x="4091349" y="3214701"/>
            <a:ext cx="576355" cy="0"/>
          </a:xfrm>
          <a:prstGeom prst="line">
            <a:avLst/>
          </a:prstGeom>
          <a:noFill/>
          <a:ln w="28575" cap="rnd" cmpd="sng" algn="ctr">
            <a:solidFill>
              <a:srgbClr val="04A4EC"/>
            </a:solidFill>
            <a:prstDash val="solid"/>
            <a:headEnd type="oval"/>
          </a:ln>
          <a:effectLst/>
        </p:spPr>
      </p:cxnSp>
      <p:cxnSp>
        <p:nvCxnSpPr>
          <p:cNvPr id="137" name="Straight Connector 136">
            <a:extLst>
              <a:ext uri="{FF2B5EF4-FFF2-40B4-BE49-F238E27FC236}">
                <a16:creationId xmlns:a16="http://schemas.microsoft.com/office/drawing/2014/main" id="{E809387B-10CA-465B-8E97-1AB97A4C5182}"/>
              </a:ext>
            </a:extLst>
          </p:cNvPr>
          <p:cNvCxnSpPr/>
          <p:nvPr/>
        </p:nvCxnSpPr>
        <p:spPr>
          <a:xfrm>
            <a:off x="4091349" y="3658528"/>
            <a:ext cx="576355" cy="0"/>
          </a:xfrm>
          <a:prstGeom prst="line">
            <a:avLst/>
          </a:prstGeom>
          <a:noFill/>
          <a:ln w="28575" cap="rnd" cmpd="sng" algn="ctr">
            <a:solidFill>
              <a:srgbClr val="04A4EC"/>
            </a:solidFill>
            <a:prstDash val="solid"/>
            <a:headEnd type="oval"/>
          </a:ln>
          <a:effectLst/>
        </p:spPr>
      </p:cxnSp>
      <p:cxnSp>
        <p:nvCxnSpPr>
          <p:cNvPr id="138" name="Straight Connector 137">
            <a:extLst>
              <a:ext uri="{FF2B5EF4-FFF2-40B4-BE49-F238E27FC236}">
                <a16:creationId xmlns:a16="http://schemas.microsoft.com/office/drawing/2014/main" id="{8F8DE814-30DA-42FB-BE26-F09B974555C3}"/>
              </a:ext>
            </a:extLst>
          </p:cNvPr>
          <p:cNvCxnSpPr/>
          <p:nvPr/>
        </p:nvCxnSpPr>
        <p:spPr>
          <a:xfrm>
            <a:off x="4091349" y="4498769"/>
            <a:ext cx="576355" cy="0"/>
          </a:xfrm>
          <a:prstGeom prst="line">
            <a:avLst/>
          </a:prstGeom>
          <a:noFill/>
          <a:ln w="28575" cap="rnd" cmpd="sng" algn="ctr">
            <a:solidFill>
              <a:srgbClr val="002060"/>
            </a:solidFill>
            <a:prstDash val="solid"/>
            <a:headEnd type="oval"/>
          </a:ln>
          <a:effectLst/>
        </p:spPr>
      </p:cxnSp>
      <p:cxnSp>
        <p:nvCxnSpPr>
          <p:cNvPr id="139" name="Straight Connector 138">
            <a:extLst>
              <a:ext uri="{FF2B5EF4-FFF2-40B4-BE49-F238E27FC236}">
                <a16:creationId xmlns:a16="http://schemas.microsoft.com/office/drawing/2014/main" id="{9FCEB6E7-B9B2-47C7-AA20-F65D43D96315}"/>
              </a:ext>
            </a:extLst>
          </p:cNvPr>
          <p:cNvCxnSpPr/>
          <p:nvPr/>
        </p:nvCxnSpPr>
        <p:spPr>
          <a:xfrm>
            <a:off x="4091349" y="2770872"/>
            <a:ext cx="576355" cy="0"/>
          </a:xfrm>
          <a:prstGeom prst="line">
            <a:avLst/>
          </a:prstGeom>
          <a:noFill/>
          <a:ln w="28575" cap="rnd" cmpd="sng" algn="ctr">
            <a:solidFill>
              <a:srgbClr val="04A4EC"/>
            </a:solidFill>
            <a:prstDash val="solid"/>
            <a:headEnd type="oval"/>
          </a:ln>
          <a:effectLst/>
        </p:spPr>
      </p:cxnSp>
      <p:sp>
        <p:nvSpPr>
          <p:cNvPr id="140" name="TextBox 139">
            <a:extLst>
              <a:ext uri="{FF2B5EF4-FFF2-40B4-BE49-F238E27FC236}">
                <a16:creationId xmlns:a16="http://schemas.microsoft.com/office/drawing/2014/main" id="{FD687BF8-1890-4CE8-BE75-18DD2FAEFBC8}"/>
              </a:ext>
            </a:extLst>
          </p:cNvPr>
          <p:cNvSpPr txBox="1"/>
          <p:nvPr/>
        </p:nvSpPr>
        <p:spPr>
          <a:xfrm>
            <a:off x="336862" y="1717355"/>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负责PPR报告的独立专家组</a:t>
            </a:r>
            <a:endParaRPr kumimoji="0" lang="en-US" sz="1600" b="0" i="0" u="none" strike="noStrike" kern="0" cap="none" spc="0" normalizeH="0" baseline="0" noProof="0">
              <a:ln>
                <a:noFill/>
              </a:ln>
              <a:solidFill>
                <a:srgbClr val="000000"/>
              </a:solidFill>
              <a:effectLst/>
              <a:uLnTx/>
              <a:uFillTx/>
            </a:endParaRPr>
          </a:p>
        </p:txBody>
      </p:sp>
      <p:cxnSp>
        <p:nvCxnSpPr>
          <p:cNvPr id="141" name="Straight Connector 140">
            <a:extLst>
              <a:ext uri="{FF2B5EF4-FFF2-40B4-BE49-F238E27FC236}">
                <a16:creationId xmlns:a16="http://schemas.microsoft.com/office/drawing/2014/main" id="{AF96CC0D-FD2F-415E-B054-406E38C74DA2}"/>
              </a:ext>
            </a:extLst>
          </p:cNvPr>
          <p:cNvCxnSpPr/>
          <p:nvPr/>
        </p:nvCxnSpPr>
        <p:spPr>
          <a:xfrm>
            <a:off x="4091349" y="1883218"/>
            <a:ext cx="576355" cy="0"/>
          </a:xfrm>
          <a:prstGeom prst="line">
            <a:avLst/>
          </a:prstGeom>
          <a:noFill/>
          <a:ln w="28575" cap="rnd" cmpd="sng" algn="ctr">
            <a:solidFill>
              <a:srgbClr val="04A4EC"/>
            </a:solidFill>
            <a:prstDash val="solid"/>
            <a:headEnd type="oval"/>
          </a:ln>
          <a:effectLst/>
        </p:spPr>
      </p:cxnSp>
      <p:cxnSp>
        <p:nvCxnSpPr>
          <p:cNvPr id="142" name="Straight Connector 141">
            <a:extLst>
              <a:ext uri="{FF2B5EF4-FFF2-40B4-BE49-F238E27FC236}">
                <a16:creationId xmlns:a16="http://schemas.microsoft.com/office/drawing/2014/main" id="{48DC5659-D2A4-4B0A-86FA-E83419E10644}"/>
              </a:ext>
            </a:extLst>
          </p:cNvPr>
          <p:cNvCxnSpPr/>
          <p:nvPr/>
        </p:nvCxnSpPr>
        <p:spPr>
          <a:xfrm>
            <a:off x="4091349" y="4950650"/>
            <a:ext cx="576355" cy="0"/>
          </a:xfrm>
          <a:prstGeom prst="line">
            <a:avLst/>
          </a:prstGeom>
          <a:noFill/>
          <a:ln w="28575" cap="rnd" cmpd="sng" algn="ctr">
            <a:solidFill>
              <a:srgbClr val="002060"/>
            </a:solidFill>
            <a:prstDash val="solid"/>
            <a:headEnd type="oval"/>
          </a:ln>
          <a:effectLst/>
        </p:spPr>
      </p:cxnSp>
      <p:cxnSp>
        <p:nvCxnSpPr>
          <p:cNvPr id="143" name="Straight Connector 142">
            <a:extLst>
              <a:ext uri="{FF2B5EF4-FFF2-40B4-BE49-F238E27FC236}">
                <a16:creationId xmlns:a16="http://schemas.microsoft.com/office/drawing/2014/main" id="{45527875-016F-48DB-8A2D-00135FD6ECBC}"/>
              </a:ext>
            </a:extLst>
          </p:cNvPr>
          <p:cNvCxnSpPr/>
          <p:nvPr/>
        </p:nvCxnSpPr>
        <p:spPr>
          <a:xfrm>
            <a:off x="4091349" y="5394480"/>
            <a:ext cx="576355" cy="0"/>
          </a:xfrm>
          <a:prstGeom prst="line">
            <a:avLst/>
          </a:prstGeom>
          <a:noFill/>
          <a:ln w="28575" cap="rnd" cmpd="sng" algn="ctr">
            <a:solidFill>
              <a:srgbClr val="002060"/>
            </a:solidFill>
            <a:prstDash val="solid"/>
            <a:headEnd type="oval"/>
          </a:ln>
          <a:effectLst/>
        </p:spPr>
      </p:cxnSp>
      <p:sp>
        <p:nvSpPr>
          <p:cNvPr id="144" name="TextBox 143">
            <a:extLst>
              <a:ext uri="{FF2B5EF4-FFF2-40B4-BE49-F238E27FC236}">
                <a16:creationId xmlns:a16="http://schemas.microsoft.com/office/drawing/2014/main" id="{983F7CC5-BF86-406D-AFA3-D637013B2A88}"/>
              </a:ext>
            </a:extLst>
          </p:cNvPr>
          <p:cNvSpPr txBox="1"/>
          <p:nvPr/>
        </p:nvSpPr>
        <p:spPr>
          <a:xfrm>
            <a:off x="336862" y="5228618"/>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其他进程</a:t>
            </a:r>
            <a:endParaRPr kumimoji="0" lang="en-US" sz="1600" b="0" i="0" u="none" strike="noStrike" kern="0" cap="none" spc="0" normalizeH="0" baseline="0" noProof="0">
              <a:ln>
                <a:noFill/>
              </a:ln>
              <a:solidFill>
                <a:srgbClr val="000000"/>
              </a:solidFill>
              <a:effectLst/>
              <a:uLnTx/>
              <a:uFillTx/>
            </a:endParaRPr>
          </a:p>
        </p:txBody>
      </p:sp>
      <p:cxnSp>
        <p:nvCxnSpPr>
          <p:cNvPr id="145" name="Straight Connector 144">
            <a:extLst>
              <a:ext uri="{FF2B5EF4-FFF2-40B4-BE49-F238E27FC236}">
                <a16:creationId xmlns:a16="http://schemas.microsoft.com/office/drawing/2014/main" id="{C6FBF40C-D6F7-4322-8C11-F28B680063B1}"/>
              </a:ext>
            </a:extLst>
          </p:cNvPr>
          <p:cNvCxnSpPr/>
          <p:nvPr/>
        </p:nvCxnSpPr>
        <p:spPr>
          <a:xfrm>
            <a:off x="4091349" y="4088998"/>
            <a:ext cx="576355" cy="0"/>
          </a:xfrm>
          <a:prstGeom prst="line">
            <a:avLst/>
          </a:prstGeom>
          <a:noFill/>
          <a:ln w="28575" cap="rnd" cmpd="sng" algn="ctr">
            <a:solidFill>
              <a:srgbClr val="04A4EC"/>
            </a:solidFill>
            <a:prstDash val="solid"/>
            <a:headEnd type="oval"/>
          </a:ln>
          <a:effectLst/>
        </p:spPr>
      </p:cxnSp>
      <p:sp>
        <p:nvSpPr>
          <p:cNvPr id="146" name="TextBox 145">
            <a:extLst>
              <a:ext uri="{FF2B5EF4-FFF2-40B4-BE49-F238E27FC236}">
                <a16:creationId xmlns:a16="http://schemas.microsoft.com/office/drawing/2014/main" id="{F6A9429E-ABE5-4E9B-80A1-26ACE1FB3239}"/>
              </a:ext>
            </a:extLst>
          </p:cNvPr>
          <p:cNvSpPr txBox="1"/>
          <p:nvPr/>
        </p:nvSpPr>
        <p:spPr>
          <a:xfrm>
            <a:off x="336862" y="3893001"/>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其他报告</a:t>
            </a:r>
            <a:endParaRPr kumimoji="0" lang="en-US" sz="1600" b="0" i="0" u="none" strike="noStrike" kern="0" cap="none" spc="0" normalizeH="0" baseline="0" noProof="0">
              <a:ln>
                <a:noFill/>
              </a:ln>
              <a:solidFill>
                <a:srgbClr val="000000"/>
              </a:solidFill>
              <a:effectLst/>
              <a:uLnTx/>
              <a:uFillTx/>
            </a:endParaRPr>
          </a:p>
        </p:txBody>
      </p:sp>
      <p:cxnSp>
        <p:nvCxnSpPr>
          <p:cNvPr id="147" name="Straight Connector 146">
            <a:extLst>
              <a:ext uri="{FF2B5EF4-FFF2-40B4-BE49-F238E27FC236}">
                <a16:creationId xmlns:a16="http://schemas.microsoft.com/office/drawing/2014/main" id="{4DED97AF-8670-4AFE-A3A2-D877F005E5FD}"/>
              </a:ext>
            </a:extLst>
          </p:cNvPr>
          <p:cNvCxnSpPr/>
          <p:nvPr/>
        </p:nvCxnSpPr>
        <p:spPr>
          <a:xfrm flipH="1">
            <a:off x="4667704" y="4498769"/>
            <a:ext cx="0" cy="887655"/>
          </a:xfrm>
          <a:prstGeom prst="line">
            <a:avLst/>
          </a:prstGeom>
          <a:noFill/>
          <a:ln w="28575" cap="rnd" cmpd="sng" algn="ctr">
            <a:solidFill>
              <a:srgbClr val="002060"/>
            </a:solidFill>
            <a:prstDash val="solid"/>
            <a:round/>
          </a:ln>
          <a:effectLst/>
        </p:spPr>
      </p:cxnSp>
      <p:sp>
        <p:nvSpPr>
          <p:cNvPr id="148" name="TextBox 147">
            <a:extLst>
              <a:ext uri="{FF2B5EF4-FFF2-40B4-BE49-F238E27FC236}">
                <a16:creationId xmlns:a16="http://schemas.microsoft.com/office/drawing/2014/main" id="{EC9D5F1D-3660-4544-B635-38E0B10E514C}"/>
              </a:ext>
            </a:extLst>
          </p:cNvPr>
          <p:cNvSpPr txBox="1"/>
          <p:nvPr/>
        </p:nvSpPr>
        <p:spPr>
          <a:xfrm>
            <a:off x="336862" y="2600593"/>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IHR审查委员会</a:t>
            </a:r>
            <a:endParaRPr kumimoji="0" lang="en-US" sz="1600" b="0" i="0" u="none" strike="noStrike" kern="0" cap="none" spc="0" normalizeH="0" baseline="0" noProof="0">
              <a:ln>
                <a:noFill/>
              </a:ln>
              <a:solidFill>
                <a:srgbClr val="000000"/>
              </a:solidFill>
              <a:effectLst/>
              <a:uLnTx/>
              <a:uFillTx/>
            </a:endParaRPr>
          </a:p>
        </p:txBody>
      </p:sp>
      <p:sp>
        <p:nvSpPr>
          <p:cNvPr id="149" name="TextBox 148">
            <a:extLst>
              <a:ext uri="{FF2B5EF4-FFF2-40B4-BE49-F238E27FC236}">
                <a16:creationId xmlns:a16="http://schemas.microsoft.com/office/drawing/2014/main" id="{B7CEBEEE-667E-42DE-B6B6-7D6F30AD3F8D}"/>
              </a:ext>
            </a:extLst>
          </p:cNvPr>
          <p:cNvSpPr txBox="1"/>
          <p:nvPr/>
        </p:nvSpPr>
        <p:spPr>
          <a:xfrm>
            <a:off x="336862" y="4792259"/>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rPr>
              <a:t>20国集团（G20) 和7国集团 (G7) 进程</a:t>
            </a:r>
            <a:endParaRPr kumimoji="0" lang="en-US" sz="160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612548513"/>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20A75799-1D3D-415F-9B05-24D526DFCB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9D56E6A-A83D-4BA1-8A36-95D778238F3A}"/>
              </a:ext>
            </a:extLst>
          </p:cNvPr>
          <p:cNvSpPr>
            <a:spLocks noGrp="1"/>
          </p:cNvSpPr>
          <p:nvPr>
            <p:ph type="title"/>
            <p:custDataLst>
              <p:tags r:id="rId2"/>
            </p:custDataLst>
          </p:nvPr>
        </p:nvSpPr>
        <p:spPr>
          <a:xfrm>
            <a:off x="554736" y="172212"/>
            <a:ext cx="6967728" cy="769441"/>
          </a:xfrm>
          <a:noFill/>
          <a:extLst>
            <a:ext uri="{909E8E84-426E-40DD-AFC4-6F175D3DCCD1}">
              <a14:hiddenFill xmlns:a14="http://schemas.microsoft.com/office/drawing/2010/main">
                <a:solidFill>
                  <a:srgbClr val="FFFFFF"/>
                </a:solidFill>
              </a14:hiddenFill>
            </a:ext>
          </a:extLst>
        </p:spPr>
        <p:txBody>
          <a:bodyPr vert="horz" wrap="square" anchor="t" anchorCtr="0">
            <a:noAutofit/>
          </a:bodyPr>
          <a:lstStyle/>
          <a:p>
            <a:pPr rtl="0"/>
            <a:r>
              <a:rPr lang="zh-Hans" sz="3200" b="0" i="0" u="none" strike="noStrike" dirty="0">
                <a:highlight>
                  <a:srgbClr val="000000">
                    <a:alpha val="0"/>
                  </a:srgbClr>
                </a:highlight>
                <a:latin typeface="Simsun"/>
                <a:ea typeface="Simsun"/>
              </a:rPr>
              <a:t>深度探索：卫生</a:t>
            </a:r>
            <a:r>
              <a:rPr lang="zh-CN" altLang="en-US" dirty="0">
                <a:highlight>
                  <a:srgbClr val="000000">
                    <a:alpha val="0"/>
                  </a:srgbClr>
                </a:highlight>
                <a:latin typeface="Simsun"/>
                <a:ea typeface="Simsun"/>
              </a:rPr>
              <a:t>突发事件</a:t>
            </a:r>
            <a:r>
              <a:rPr lang="zh-Hans" sz="3200" b="0" i="0" u="none" strike="noStrike" dirty="0">
                <a:highlight>
                  <a:srgbClr val="000000">
                    <a:alpha val="0"/>
                  </a:srgbClr>
                </a:highlight>
                <a:latin typeface="Simsun"/>
                <a:ea typeface="Simsun"/>
              </a:rPr>
              <a:t>准备、应对和韧性建设需要部门间协调....</a:t>
            </a:r>
          </a:p>
        </p:txBody>
      </p:sp>
      <p:sp>
        <p:nvSpPr>
          <p:cNvPr id="5" name="Oval 4">
            <a:extLst>
              <a:ext uri="{FF2B5EF4-FFF2-40B4-BE49-F238E27FC236}">
                <a16:creationId xmlns:a16="http://schemas.microsoft.com/office/drawing/2014/main" id="{6ECDFC33-DD76-4162-8248-BA37E1617DDC}"/>
              </a:ext>
            </a:extLst>
          </p:cNvPr>
          <p:cNvSpPr/>
          <p:nvPr/>
        </p:nvSpPr>
        <p:spPr>
          <a:xfrm>
            <a:off x="3498304" y="1708280"/>
            <a:ext cx="3213631" cy="3213631"/>
          </a:xfrm>
          <a:prstGeom prst="ellipse">
            <a:avLst/>
          </a:prstGeom>
          <a:solidFill>
            <a:srgbClr val="97BAFF">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7" name="TextBox 6">
            <a:extLst>
              <a:ext uri="{FF2B5EF4-FFF2-40B4-BE49-F238E27FC236}">
                <a16:creationId xmlns:a16="http://schemas.microsoft.com/office/drawing/2014/main" id="{5AA09342-459B-414D-953C-27EF6487F62E}"/>
              </a:ext>
            </a:extLst>
          </p:cNvPr>
          <p:cNvSpPr txBox="1"/>
          <p:nvPr/>
        </p:nvSpPr>
        <p:spPr>
          <a:xfrm>
            <a:off x="4229663" y="2503979"/>
            <a:ext cx="2116608"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
                <a:srgbClr val="000000"/>
              </a:buClr>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经济与金融</a:t>
            </a:r>
          </a:p>
        </p:txBody>
      </p:sp>
      <p:grpSp>
        <p:nvGrpSpPr>
          <p:cNvPr id="21" name="Group 20">
            <a:extLst>
              <a:ext uri="{FF2B5EF4-FFF2-40B4-BE49-F238E27FC236}">
                <a16:creationId xmlns:a16="http://schemas.microsoft.com/office/drawing/2014/main" id="{C10D074A-2A47-4E32-B8F0-7CB72C314D3B}"/>
              </a:ext>
            </a:extLst>
          </p:cNvPr>
          <p:cNvGrpSpPr/>
          <p:nvPr/>
        </p:nvGrpSpPr>
        <p:grpSpPr>
          <a:xfrm>
            <a:off x="554736" y="3473808"/>
            <a:ext cx="2301775" cy="2228934"/>
            <a:chOff x="856290" y="3895977"/>
            <a:chExt cx="2301775" cy="2228934"/>
          </a:xfrm>
        </p:grpSpPr>
        <p:sp>
          <p:nvSpPr>
            <p:cNvPr id="9" name="Oval 8">
              <a:extLst>
                <a:ext uri="{FF2B5EF4-FFF2-40B4-BE49-F238E27FC236}">
                  <a16:creationId xmlns:a16="http://schemas.microsoft.com/office/drawing/2014/main" id="{2659A9D3-342F-41C5-BE8C-A70EB3823776}"/>
                </a:ext>
              </a:extLst>
            </p:cNvPr>
            <p:cNvSpPr/>
            <p:nvPr/>
          </p:nvSpPr>
          <p:spPr>
            <a:xfrm>
              <a:off x="856290" y="3895977"/>
              <a:ext cx="2301775" cy="2228934"/>
            </a:xfrm>
            <a:prstGeom prst="ellipse">
              <a:avLst/>
            </a:prstGeom>
            <a:solidFill>
              <a:srgbClr val="3075FF">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BA88E76-DBCA-4A2D-97A1-C47894C82A89}"/>
                </a:ext>
              </a:extLst>
            </p:cNvPr>
            <p:cNvSpPr txBox="1"/>
            <p:nvPr/>
          </p:nvSpPr>
          <p:spPr>
            <a:xfrm>
              <a:off x="1087526" y="4830334"/>
              <a:ext cx="1914758" cy="36933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n-cs"/>
                </a:rPr>
                <a:t>环境</a:t>
              </a:r>
            </a:p>
          </p:txBody>
        </p:sp>
      </p:grpSp>
      <p:grpSp>
        <p:nvGrpSpPr>
          <p:cNvPr id="27" name="Group 26">
            <a:extLst>
              <a:ext uri="{FF2B5EF4-FFF2-40B4-BE49-F238E27FC236}">
                <a16:creationId xmlns:a16="http://schemas.microsoft.com/office/drawing/2014/main" id="{88920DB3-3008-4473-B5EA-E17D07A540B6}"/>
              </a:ext>
            </a:extLst>
          </p:cNvPr>
          <p:cNvGrpSpPr/>
          <p:nvPr/>
        </p:nvGrpSpPr>
        <p:grpSpPr>
          <a:xfrm>
            <a:off x="4744407" y="3329305"/>
            <a:ext cx="2436530" cy="2486889"/>
            <a:chOff x="4834458" y="4107671"/>
            <a:chExt cx="1865896" cy="1961640"/>
          </a:xfrm>
        </p:grpSpPr>
        <p:sp>
          <p:nvSpPr>
            <p:cNvPr id="6" name="Oval 5">
              <a:extLst>
                <a:ext uri="{FF2B5EF4-FFF2-40B4-BE49-F238E27FC236}">
                  <a16:creationId xmlns:a16="http://schemas.microsoft.com/office/drawing/2014/main" id="{A18D1C3C-0A1C-4EF8-AC6A-1483B773FDBB}"/>
                </a:ext>
              </a:extLst>
            </p:cNvPr>
            <p:cNvSpPr/>
            <p:nvPr/>
          </p:nvSpPr>
          <p:spPr>
            <a:xfrm>
              <a:off x="4834458" y="4107671"/>
              <a:ext cx="1865896" cy="1961640"/>
            </a:xfrm>
            <a:prstGeom prst="ellipse">
              <a:avLst/>
            </a:prstGeom>
            <a:solidFill>
              <a:srgbClr val="002060">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08D841DE-CB59-4A3F-A7A9-8D34C9E3CA3B}"/>
                </a:ext>
              </a:extLst>
            </p:cNvPr>
            <p:cNvSpPr txBox="1"/>
            <p:nvPr/>
          </p:nvSpPr>
          <p:spPr>
            <a:xfrm>
              <a:off x="5038072" y="4870922"/>
              <a:ext cx="1430885" cy="7283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n-cs"/>
                </a:rPr>
                <a:t>社会福利和保护</a:t>
              </a:r>
            </a:p>
            <a:p>
              <a:pPr marL="0" marR="0" lvl="0" indent="0" algn="ctr" defTabSz="914400" rtl="0" eaLnBrk="1" fontAlgn="auto" latinLnBrk="0" hangingPunct="1">
                <a:lnSpc>
                  <a:spcPct val="100000"/>
                </a:lnSpc>
                <a:spcBef>
                  <a:spcPct val="0"/>
                </a:spcBef>
                <a:spcAft>
                  <a:spcPct val="0"/>
                </a:spcAft>
                <a:buClrTx/>
                <a:buSzTx/>
                <a:buFontTx/>
                <a:buNone/>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 </a:t>
              </a:r>
            </a:p>
          </p:txBody>
        </p:sp>
      </p:grpSp>
      <p:sp>
        <p:nvSpPr>
          <p:cNvPr id="12" name="Oval 11">
            <a:extLst>
              <a:ext uri="{FF2B5EF4-FFF2-40B4-BE49-F238E27FC236}">
                <a16:creationId xmlns:a16="http://schemas.microsoft.com/office/drawing/2014/main" id="{067A475D-9C15-49E3-855C-BB96EC1E64EA}"/>
              </a:ext>
            </a:extLst>
          </p:cNvPr>
          <p:cNvSpPr/>
          <p:nvPr/>
        </p:nvSpPr>
        <p:spPr>
          <a:xfrm>
            <a:off x="1562225" y="1773675"/>
            <a:ext cx="2301775" cy="2228934"/>
          </a:xfrm>
          <a:prstGeom prst="ellipse">
            <a:avLst/>
          </a:prstGeom>
          <a:solidFill>
            <a:srgbClr val="D6E3FF">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216F962-E9A4-43B4-953D-29A091988228}"/>
              </a:ext>
            </a:extLst>
          </p:cNvPr>
          <p:cNvSpPr txBox="1"/>
          <p:nvPr/>
        </p:nvSpPr>
        <p:spPr>
          <a:xfrm>
            <a:off x="1766686" y="2316020"/>
            <a:ext cx="1702421"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
                <a:srgbClr val="000000"/>
              </a:buClr>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动物健康与农业</a:t>
            </a:r>
          </a:p>
        </p:txBody>
      </p:sp>
      <p:sp>
        <p:nvSpPr>
          <p:cNvPr id="35" name="TextBox 34">
            <a:extLst>
              <a:ext uri="{FF2B5EF4-FFF2-40B4-BE49-F238E27FC236}">
                <a16:creationId xmlns:a16="http://schemas.microsoft.com/office/drawing/2014/main" id="{971240B7-A0BB-4B2E-83F2-52A1F5FD560B}"/>
              </a:ext>
            </a:extLst>
          </p:cNvPr>
          <p:cNvSpPr txBox="1"/>
          <p:nvPr/>
        </p:nvSpPr>
        <p:spPr>
          <a:xfrm>
            <a:off x="8196578" y="396735"/>
            <a:ext cx="3513908" cy="539378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8600">
              <a:lnSpc>
                <a:spcPct val="100000"/>
              </a:lnSpc>
              <a:spcBef>
                <a:spcPct val="0"/>
              </a:spcBef>
              <a:spcAft>
                <a:spcPts val="300"/>
              </a:spcAft>
              <a:buClr>
                <a:schemeClr val="tx1"/>
              </a:buClr>
              <a:buSzPct val="110000"/>
              <a:buFont typeface="Wingdings" panose="05000000000000000000" pitchFamily="2" charset="2"/>
              <a:buChar char=""/>
              <a:defRPr lang="en-US" sz="1600"/>
            </a:lvl2pPr>
            <a:lvl3pPr marL="438912" lvl="2" indent="-210312">
              <a:lnSpc>
                <a:spcPct val="100000"/>
              </a:lnSpc>
              <a:spcBef>
                <a:spcPct val="0"/>
              </a:spcBef>
              <a:spcAft>
                <a:spcPts val="300"/>
              </a:spcAft>
              <a:buClr>
                <a:schemeClr val="tx1"/>
              </a:buClr>
              <a:buSzPct val="110000"/>
              <a:buFont typeface="Arial" panose="020B0604020202020204" pitchFamily="34" charset="0"/>
              <a:buChar char="‒"/>
              <a:defRPr lang="en-US" sz="1600"/>
            </a:lvl3pPr>
            <a:lvl4pPr marL="594360" lvl="3" indent="-155448">
              <a:lnSpc>
                <a:spcPct val="100000"/>
              </a:lnSpc>
              <a:spcBef>
                <a:spcPct val="0"/>
              </a:spcBef>
              <a:spcAft>
                <a:spcPts val="300"/>
              </a:spcAft>
              <a:buClr>
                <a:schemeClr val="tx1"/>
              </a:buClr>
              <a:buSzTx/>
              <a:buFont typeface="Arial" panose="020B0604020202020204" pitchFamily="34" charset="0"/>
              <a:buChar char="•"/>
              <a:defRPr lang="en-US" sz="1600"/>
            </a:lvl4pPr>
            <a:lvl5pPr marL="813816" lvl="4" indent="-146304">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800"/>
              </a:spcBef>
              <a:spcAft>
                <a:spcPts val="300"/>
              </a:spcAft>
              <a:buClr>
                <a:srgbClr val="000000"/>
              </a:buClr>
              <a:buSzTx/>
              <a:buFont typeface="Segoe UI" panose="020B0502040204020203" pitchFamily="34" charset="0"/>
              <a:buChar char="​"/>
              <a:defRPr/>
            </a:pPr>
            <a:r>
              <a:rPr kumimoji="0" lang="zh-Hans" sz="2000" b="0" i="0" u="none" strike="noStrike" kern="1200" cap="none" spc="0" normalizeH="0" baseline="0" noProof="0" dirty="0">
                <a:solidFill>
                  <a:srgbClr val="000000"/>
                </a:solidFill>
                <a:highlight>
                  <a:srgbClr val="000000">
                    <a:alpha val="0"/>
                  </a:srgbClr>
                </a:highlight>
                <a:uLnTx/>
                <a:uFillTx/>
                <a:latin typeface="Simsun"/>
                <a:ea typeface="Simsun"/>
                <a:cs typeface="Arial"/>
              </a:rPr>
              <a:t>保证社会和经济体系中所有政府和社会主体参与的 "同一个健康 "方法对取得以下目标至关重要：</a:t>
            </a:r>
          </a:p>
          <a:p>
            <a:pPr marL="228600" marR="0" lvl="1" indent="-228600" algn="l" defTabSz="914400" rtl="0" eaLnBrk="1" fontAlgn="auto" latinLnBrk="0" hangingPunct="1">
              <a:lnSpc>
                <a:spcPct val="100000"/>
              </a:lnSpc>
              <a:spcBef>
                <a:spcPts val="1800"/>
              </a:spcBef>
              <a:spcAft>
                <a:spcPts val="300"/>
              </a:spcAft>
              <a:buClr>
                <a:srgbClr val="000000"/>
              </a:buClr>
              <a:buSzPct val="110000"/>
              <a:buFont typeface="Wingdings" panose="05000000000000000000" pitchFamily="2" charset="2"/>
              <a:buChar char=""/>
              <a:defRPr/>
            </a:pP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mn-cs"/>
              </a:rPr>
              <a:t>保证突发事件准备和</a:t>
            </a:r>
            <a:r>
              <a:rPr lang="zh-CN" altLang="en-US" sz="1800" dirty="0">
                <a:solidFill>
                  <a:srgbClr val="000000"/>
                </a:solidFill>
                <a:highlight>
                  <a:srgbClr val="000000">
                    <a:alpha val="0"/>
                  </a:srgbClr>
                </a:highlight>
                <a:latin typeface="Simsun"/>
                <a:ea typeface="Simsun"/>
              </a:rPr>
              <a:t>应对</a:t>
            </a: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mn-cs"/>
              </a:rPr>
              <a:t>能力成为强有力系统的一部分</a:t>
            </a:r>
          </a:p>
          <a:p>
            <a:pPr marL="228600" marR="0" lvl="1" indent="-228600" algn="l" defTabSz="914400" rtl="0" eaLnBrk="1" fontAlgn="auto" latinLnBrk="0" hangingPunct="1">
              <a:lnSpc>
                <a:spcPct val="100000"/>
              </a:lnSpc>
              <a:spcBef>
                <a:spcPts val="1800"/>
              </a:spcBef>
              <a:spcAft>
                <a:spcPts val="300"/>
              </a:spcAft>
              <a:buClr>
                <a:srgbClr val="000000"/>
              </a:buClr>
              <a:buSzPct val="110000"/>
              <a:buFont typeface="Wingdings" panose="05000000000000000000" pitchFamily="2" charset="2"/>
              <a:buChar char=""/>
              <a:defRPr/>
            </a:pP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mn-cs"/>
              </a:rPr>
              <a:t>为快速突发事件应对做好跨部门准备能力建设</a:t>
            </a:r>
          </a:p>
          <a:p>
            <a:pPr marL="228600" marR="0" lvl="1" indent="-228600" algn="l" defTabSz="914400" rtl="0" eaLnBrk="1" fontAlgn="auto" latinLnBrk="0" hangingPunct="1">
              <a:lnSpc>
                <a:spcPct val="100000"/>
              </a:lnSpc>
              <a:spcBef>
                <a:spcPts val="1800"/>
              </a:spcBef>
              <a:spcAft>
                <a:spcPts val="300"/>
              </a:spcAft>
              <a:buClr>
                <a:srgbClr val="000000"/>
              </a:buClr>
              <a:buSzPct val="110000"/>
              <a:buFont typeface="Wingdings" panose="05000000000000000000" pitchFamily="2" charset="2"/>
              <a:buChar char=""/>
              <a:defRPr/>
            </a:pP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mn-cs"/>
              </a:rPr>
              <a:t>必须建立在现有的机制上，如《国际卫生条例》（2005）和《仙台减少灾害风险框架》。</a:t>
            </a:r>
          </a:p>
        </p:txBody>
      </p:sp>
      <p:grpSp>
        <p:nvGrpSpPr>
          <p:cNvPr id="22" name="Group 21">
            <a:extLst>
              <a:ext uri="{FF2B5EF4-FFF2-40B4-BE49-F238E27FC236}">
                <a16:creationId xmlns:a16="http://schemas.microsoft.com/office/drawing/2014/main" id="{C9B997D1-DBA4-43B8-938C-E42B477BDC32}"/>
              </a:ext>
            </a:extLst>
          </p:cNvPr>
          <p:cNvGrpSpPr/>
          <p:nvPr/>
        </p:nvGrpSpPr>
        <p:grpSpPr>
          <a:xfrm>
            <a:off x="2610507" y="4111715"/>
            <a:ext cx="2382669" cy="2345300"/>
            <a:chOff x="2580012" y="5112760"/>
            <a:chExt cx="1865896" cy="1961640"/>
          </a:xfrm>
        </p:grpSpPr>
        <p:sp>
          <p:nvSpPr>
            <p:cNvPr id="25" name="Oval 24">
              <a:extLst>
                <a:ext uri="{FF2B5EF4-FFF2-40B4-BE49-F238E27FC236}">
                  <a16:creationId xmlns:a16="http://schemas.microsoft.com/office/drawing/2014/main" id="{FF33B7C3-F5BC-4B31-8834-22CD36AD1D34}"/>
                </a:ext>
              </a:extLst>
            </p:cNvPr>
            <p:cNvSpPr/>
            <p:nvPr/>
          </p:nvSpPr>
          <p:spPr>
            <a:xfrm>
              <a:off x="2580012" y="5112760"/>
              <a:ext cx="1865896" cy="1961640"/>
            </a:xfrm>
            <a:prstGeom prst="ellipse">
              <a:avLst/>
            </a:prstGeom>
            <a:solidFill>
              <a:schemeClr val="accent4">
                <a:lumMod val="60000"/>
                <a:lumOff val="40000"/>
                <a:alpha val="69804"/>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25742BEF-2D67-44E5-9B56-199F625D5CCB}"/>
                </a:ext>
              </a:extLst>
            </p:cNvPr>
            <p:cNvSpPr txBox="1"/>
            <p:nvPr/>
          </p:nvSpPr>
          <p:spPr>
            <a:xfrm>
              <a:off x="2772661" y="6057373"/>
              <a:ext cx="1503874" cy="772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人道主义和灾害管理</a:t>
              </a:r>
            </a:p>
          </p:txBody>
        </p:sp>
      </p:grpSp>
      <p:sp>
        <p:nvSpPr>
          <p:cNvPr id="28" name="Oval 27">
            <a:extLst>
              <a:ext uri="{FF2B5EF4-FFF2-40B4-BE49-F238E27FC236}">
                <a16:creationId xmlns:a16="http://schemas.microsoft.com/office/drawing/2014/main" id="{E246F274-857A-492F-8ADE-8CE400735254}"/>
              </a:ext>
            </a:extLst>
          </p:cNvPr>
          <p:cNvSpPr>
            <a:spLocks noChangeAspect="1"/>
          </p:cNvSpPr>
          <p:nvPr/>
        </p:nvSpPr>
        <p:spPr>
          <a:xfrm>
            <a:off x="2520357" y="2751759"/>
            <a:ext cx="2577278" cy="257727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TextBox 23">
            <a:extLst>
              <a:ext uri="{FF2B5EF4-FFF2-40B4-BE49-F238E27FC236}">
                <a16:creationId xmlns:a16="http://schemas.microsoft.com/office/drawing/2014/main" id="{7BD04C31-6EDA-4E3A-AAD2-C31D2723F3F2}"/>
              </a:ext>
            </a:extLst>
          </p:cNvPr>
          <p:cNvSpPr txBox="1"/>
          <p:nvPr/>
        </p:nvSpPr>
        <p:spPr>
          <a:xfrm>
            <a:off x="2784819" y="3606182"/>
            <a:ext cx="1914758" cy="83099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2400" b="0" i="0" u="none" strike="noStrike" kern="1200" cap="none" spc="0" normalizeH="0" baseline="0" noProof="0">
                <a:solidFill>
                  <a:srgbClr val="FFFFFF"/>
                </a:solidFill>
                <a:highlight>
                  <a:srgbClr val="000000">
                    <a:alpha val="0"/>
                  </a:srgbClr>
                </a:highlight>
                <a:uLnTx/>
                <a:uFillTx/>
                <a:latin typeface="Simsun"/>
                <a:ea typeface="Simsun"/>
                <a:cs typeface="+mn-cs"/>
              </a:rPr>
              <a:t>医疗卫生系统能力</a:t>
            </a:r>
            <a:endPar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n-cs"/>
            </a:endParaRPr>
          </a:p>
        </p:txBody>
      </p:sp>
    </p:spTree>
    <p:extLst>
      <p:ext uri="{BB962C8B-B14F-4D97-AF65-F5344CB8AC3E}">
        <p14:creationId xmlns:p14="http://schemas.microsoft.com/office/powerpoint/2010/main" val="66403787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E6B89-A50B-48EE-B39D-C2E7165DEA7E}"/>
              </a:ext>
            </a:extLst>
          </p:cNvPr>
          <p:cNvSpPr>
            <a:spLocks noGrp="1"/>
          </p:cNvSpPr>
          <p:nvPr>
            <p:ph type="title"/>
          </p:nvPr>
        </p:nvSpPr>
        <p:spPr/>
        <p:txBody>
          <a:bodyPr>
            <a:noAutofit/>
          </a:bodyPr>
          <a:lstStyle/>
          <a:p>
            <a:pPr rtl="0"/>
            <a:r>
              <a:rPr lang="zh-Hans" sz="3200" b="0" i="0" u="none" strike="noStrike" dirty="0">
                <a:highlight>
                  <a:srgbClr val="000000">
                    <a:alpha val="0"/>
                  </a:srgbClr>
                </a:highlight>
                <a:latin typeface="Simsun"/>
                <a:ea typeface="Simsun"/>
              </a:rPr>
              <a:t>IHR监测和评估框架(MEF)</a:t>
            </a:r>
          </a:p>
        </p:txBody>
      </p:sp>
      <p:sp>
        <p:nvSpPr>
          <p:cNvPr id="4" name="Footer Placeholder 3">
            <a:extLst>
              <a:ext uri="{FF2B5EF4-FFF2-40B4-BE49-F238E27FC236}">
                <a16:creationId xmlns:a16="http://schemas.microsoft.com/office/drawing/2014/main" id="{8966C042-90E2-4857-95FF-DC309FB72AF8}"/>
              </a:ext>
            </a:extLst>
          </p:cNvPr>
          <p:cNvSpPr>
            <a:spLocks noGrp="1"/>
          </p:cNvSpPr>
          <p:nvPr>
            <p:ph type="ftr" sz="quarter" idx="11"/>
          </p:nvPr>
        </p:nvSpPr>
        <p:spPr/>
        <p:txBody>
          <a:bodyPr>
            <a:noAutofit/>
          </a:bodyPr>
          <a:lstStyle/>
          <a:p>
            <a:endParaRPr lang="en-US"/>
          </a:p>
        </p:txBody>
      </p:sp>
      <p:sp>
        <p:nvSpPr>
          <p:cNvPr id="5" name="Slide Number Placeholder 4">
            <a:extLst>
              <a:ext uri="{FF2B5EF4-FFF2-40B4-BE49-F238E27FC236}">
                <a16:creationId xmlns:a16="http://schemas.microsoft.com/office/drawing/2014/main" id="{92ABF980-2F0B-497C-BF5E-C1A2A6321A00}"/>
              </a:ext>
            </a:extLst>
          </p:cNvPr>
          <p:cNvSpPr>
            <a:spLocks noGrp="1"/>
          </p:cNvSpPr>
          <p:nvPr>
            <p:ph type="sldNum" sz="quarter" idx="12"/>
          </p:nvPr>
        </p:nvSpPr>
        <p:spPr/>
        <p:txBody>
          <a:bodyPr>
            <a:noAutofit/>
          </a:bodyPr>
          <a:lstStyle/>
          <a:p>
            <a:pPr rtl="0"/>
            <a:r>
              <a:rPr lang="zh-Hans" sz="900" b="0" i="0" u="none" strike="noStrike">
                <a:highlight>
                  <a:srgbClr val="000000">
                    <a:alpha val="0"/>
                  </a:srgbClr>
                </a:highlight>
                <a:latin typeface="Simsun"/>
                <a:ea typeface="Simsun"/>
              </a:rPr>
              <a:t>2</a:t>
            </a:r>
            <a:endParaRPr lang="en-US"/>
          </a:p>
        </p:txBody>
      </p:sp>
      <p:pic>
        <p:nvPicPr>
          <p:cNvPr id="10" name="Picture 2">
            <a:extLst>
              <a:ext uri="{FF2B5EF4-FFF2-40B4-BE49-F238E27FC236}">
                <a16:creationId xmlns:a16="http://schemas.microsoft.com/office/drawing/2014/main" id="{5166E7BB-C225-4C69-9BFF-0AD5377FC0D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09863" y="2607210"/>
            <a:ext cx="2775531" cy="228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le 4">
            <a:extLst>
              <a:ext uri="{FF2B5EF4-FFF2-40B4-BE49-F238E27FC236}">
                <a16:creationId xmlns:a16="http://schemas.microsoft.com/office/drawing/2014/main" id="{A571457F-34A0-4FDE-B620-523016D2BC27}"/>
              </a:ext>
            </a:extLst>
          </p:cNvPr>
          <p:cNvSpPr txBox="1"/>
          <p:nvPr/>
        </p:nvSpPr>
        <p:spPr>
          <a:xfrm>
            <a:off x="8777201" y="1764350"/>
            <a:ext cx="3438463" cy="2947106"/>
          </a:xfrm>
          <a:prstGeom prst="rect">
            <a:avLst/>
          </a:prstGeom>
          <a:ln>
            <a:noFill/>
          </a:ln>
        </p:spPr>
        <p:txBody>
          <a:bodyPr>
            <a:noAutofit/>
          </a:bodyPr>
          <a:lstStyle>
            <a:lvl1pPr algn="ctr" rtl="0" eaLnBrk="0" fontAlgn="base" hangingPunct="0">
              <a:spcBef>
                <a:spcPct val="0"/>
              </a:spcBef>
              <a:spcAft>
                <a:spcPct val="0"/>
              </a:spcAft>
              <a:defRPr sz="4000" kern="1200">
                <a:solidFill>
                  <a:srgbClr val="00558E"/>
                </a:solidFill>
                <a:latin typeface="Arial Unicode MS" panose="020B0604020202020204" pitchFamily="34" charset="-128"/>
                <a:ea typeface="MS PGothic" pitchFamily="34" charset="-128"/>
                <a:cs typeface="Arial Unicode MS" panose="020B0604020202020204" pitchFamily="34" charset="-128"/>
              </a:defRPr>
            </a:lvl1pPr>
            <a:lvl2pPr algn="ctr" rtl="0" eaLnBrk="0" fontAlgn="base" hangingPunct="0">
              <a:spcBef>
                <a:spcPct val="0"/>
              </a:spcBef>
              <a:spcAft>
                <a:spcPct val="0"/>
              </a:spcAft>
              <a:defRPr sz="4000">
                <a:solidFill>
                  <a:srgbClr val="00558E"/>
                </a:solidFill>
                <a:latin typeface="Arial Unicode MS" panose="020B0604020202020204" pitchFamily="34" charset="-128"/>
                <a:ea typeface="MS PGothic" pitchFamily="34" charset="-128"/>
                <a:cs typeface="Arial Unicode MS" panose="020B0604020202020204" pitchFamily="34" charset="-128"/>
              </a:defRPr>
            </a:lvl2pPr>
            <a:lvl3pPr algn="ctr" rtl="0" eaLnBrk="0" fontAlgn="base" hangingPunct="0">
              <a:spcBef>
                <a:spcPct val="0"/>
              </a:spcBef>
              <a:spcAft>
                <a:spcPct val="0"/>
              </a:spcAft>
              <a:defRPr sz="4000">
                <a:solidFill>
                  <a:srgbClr val="00558E"/>
                </a:solidFill>
                <a:latin typeface="Arial Unicode MS" panose="020B0604020202020204" pitchFamily="34" charset="-128"/>
                <a:ea typeface="MS PGothic" pitchFamily="34" charset="-128"/>
                <a:cs typeface="Arial Unicode MS" panose="020B0604020202020204" pitchFamily="34" charset="-128"/>
              </a:defRPr>
            </a:lvl3pPr>
            <a:lvl4pPr algn="ctr" rtl="0" eaLnBrk="0" fontAlgn="base" hangingPunct="0">
              <a:spcBef>
                <a:spcPct val="0"/>
              </a:spcBef>
              <a:spcAft>
                <a:spcPct val="0"/>
              </a:spcAft>
              <a:defRPr sz="4000">
                <a:solidFill>
                  <a:srgbClr val="00558E"/>
                </a:solidFill>
                <a:latin typeface="Arial Unicode MS" panose="020B0604020202020204" pitchFamily="34" charset="-128"/>
                <a:ea typeface="MS PGothic" pitchFamily="34" charset="-128"/>
                <a:cs typeface="Arial Unicode MS" panose="020B0604020202020204" pitchFamily="34" charset="-128"/>
              </a:defRPr>
            </a:lvl4pPr>
            <a:lvl5pPr algn="ctr" rtl="0" eaLnBrk="0" fontAlgn="base" hangingPunct="0">
              <a:spcBef>
                <a:spcPct val="0"/>
              </a:spcBef>
              <a:spcAft>
                <a:spcPct val="0"/>
              </a:spcAft>
              <a:defRPr sz="4000">
                <a:solidFill>
                  <a:srgbClr val="00558E"/>
                </a:solidFill>
                <a:latin typeface="Arial Unicode MS" panose="020B0604020202020204" pitchFamily="34" charset="-128"/>
                <a:ea typeface="MS PGothic" pitchFamily="34" charset="-128"/>
                <a:cs typeface="Arial Unicode MS" panose="020B0604020202020204" pitchFamily="34" charset="-128"/>
              </a:defRPr>
            </a:lvl5pPr>
            <a:lvl6pPr marL="457200" algn="ctr" rtl="0" fontAlgn="base">
              <a:spcBef>
                <a:spcPct val="0"/>
              </a:spcBef>
              <a:spcAft>
                <a:spcPct val="0"/>
              </a:spcAft>
              <a:defRPr sz="4000">
                <a:solidFill>
                  <a:srgbClr val="00558E"/>
                </a:solidFill>
                <a:latin typeface="Arial Unicode MS" panose="020B0604020202020204" pitchFamily="34" charset="-128"/>
                <a:ea typeface="Arial Unicode MS" pitchFamily="34" charset="-128"/>
                <a:cs typeface="Arial Unicode MS" panose="020B0604020202020204" pitchFamily="34" charset="-128"/>
              </a:defRPr>
            </a:lvl6pPr>
            <a:lvl7pPr marL="914400" algn="ctr" rtl="0" fontAlgn="base">
              <a:spcBef>
                <a:spcPct val="0"/>
              </a:spcBef>
              <a:spcAft>
                <a:spcPct val="0"/>
              </a:spcAft>
              <a:defRPr sz="4000">
                <a:solidFill>
                  <a:srgbClr val="00558E"/>
                </a:solidFill>
                <a:latin typeface="Arial Unicode MS" panose="020B0604020202020204" pitchFamily="34" charset="-128"/>
                <a:ea typeface="Arial Unicode MS" pitchFamily="34" charset="-128"/>
                <a:cs typeface="Arial Unicode MS" panose="020B0604020202020204" pitchFamily="34" charset="-128"/>
              </a:defRPr>
            </a:lvl7pPr>
            <a:lvl8pPr marL="1371600" algn="ctr" rtl="0" fontAlgn="base">
              <a:spcBef>
                <a:spcPct val="0"/>
              </a:spcBef>
              <a:spcAft>
                <a:spcPct val="0"/>
              </a:spcAft>
              <a:defRPr sz="4000">
                <a:solidFill>
                  <a:srgbClr val="00558E"/>
                </a:solidFill>
                <a:latin typeface="Arial Unicode MS" panose="020B0604020202020204" pitchFamily="34" charset="-128"/>
                <a:ea typeface="Arial Unicode MS" pitchFamily="34" charset="-128"/>
                <a:cs typeface="Arial Unicode MS" panose="020B0604020202020204" pitchFamily="34" charset="-128"/>
              </a:defRPr>
            </a:lvl8pPr>
            <a:lvl9pPr marL="1828800" algn="ctr" rtl="0" fontAlgn="base">
              <a:spcBef>
                <a:spcPct val="0"/>
              </a:spcBef>
              <a:spcAft>
                <a:spcPct val="0"/>
              </a:spcAft>
              <a:defRPr sz="4000">
                <a:solidFill>
                  <a:srgbClr val="00558E"/>
                </a:solidFill>
                <a:latin typeface="Arial Unicode MS" panose="020B0604020202020204" pitchFamily="34" charset="-128"/>
                <a:ea typeface="Arial Unicode MS" pitchFamily="34" charset="-128"/>
                <a:cs typeface="Arial Unicode MS" panose="020B0604020202020204" pitchFamily="34" charset="-128"/>
              </a:defRPr>
            </a:lvl9pPr>
          </a:lstStyle>
          <a:p>
            <a:pPr rtl="0"/>
            <a:r>
              <a:rPr lang="zh-CN" altLang="en-US" sz="2000" b="0" i="0" u="none" strike="noStrike" dirty="0">
                <a:solidFill>
                  <a:srgbClr val="00205C"/>
                </a:solidFill>
                <a:highlight>
                  <a:srgbClr val="000000">
                    <a:alpha val="0"/>
                  </a:srgbClr>
                </a:highlight>
                <a:latin typeface="Simsun"/>
                <a:ea typeface="Simsun"/>
                <a:cs typeface="+mj-cs"/>
              </a:rPr>
              <a:t>国家</a:t>
            </a:r>
            <a:r>
              <a:rPr lang="zh-Hans" sz="2000" b="0" i="0" u="none" strike="noStrike" dirty="0">
                <a:solidFill>
                  <a:srgbClr val="00205C"/>
                </a:solidFill>
                <a:highlight>
                  <a:srgbClr val="000000">
                    <a:alpha val="0"/>
                  </a:srgbClr>
                </a:highlight>
                <a:latin typeface="Simsun"/>
                <a:ea typeface="Simsun"/>
                <a:cs typeface="+mj-cs"/>
              </a:rPr>
              <a:t>卫生安全行动计划</a:t>
            </a:r>
            <a:br>
              <a:rPr lang="zh-Hans" sz="2000" b="0" i="0" u="none" strike="noStrike" dirty="0">
                <a:solidFill>
                  <a:srgbClr val="00205C"/>
                </a:solidFill>
                <a:highlight>
                  <a:srgbClr val="000000">
                    <a:alpha val="0"/>
                  </a:srgbClr>
                </a:highlight>
                <a:latin typeface="Simsun"/>
                <a:ea typeface="Simsun"/>
                <a:cs typeface="+mj-cs"/>
              </a:rPr>
            </a:br>
            <a:endParaRPr lang="zh-Hans" sz="2000" b="0" i="0" u="none" strike="noStrike" dirty="0">
              <a:solidFill>
                <a:srgbClr val="00205C"/>
              </a:solidFill>
              <a:highlight>
                <a:srgbClr val="000000">
                  <a:alpha val="0"/>
                </a:srgbClr>
              </a:highlight>
              <a:latin typeface="Simsun"/>
              <a:ea typeface="Simsun"/>
              <a:cs typeface="+mj-cs"/>
            </a:endParaRPr>
          </a:p>
        </p:txBody>
      </p:sp>
      <p:sp>
        <p:nvSpPr>
          <p:cNvPr id="16" name="Rectangle 15">
            <a:extLst>
              <a:ext uri="{FF2B5EF4-FFF2-40B4-BE49-F238E27FC236}">
                <a16:creationId xmlns:a16="http://schemas.microsoft.com/office/drawing/2014/main" id="{37C2FC42-4EC1-4A2B-9476-19ABE3BFD19A}"/>
              </a:ext>
            </a:extLst>
          </p:cNvPr>
          <p:cNvSpPr/>
          <p:nvPr/>
        </p:nvSpPr>
        <p:spPr>
          <a:xfrm rot="16200000">
            <a:off x="-447677" y="3117400"/>
            <a:ext cx="2840303" cy="1034940"/>
          </a:xfrm>
          <a:prstGeom prst="rect">
            <a:avLst/>
          </a:prstGeom>
          <a:noFill/>
          <a:ln w="12700" cap="flat" cmpd="sng" algn="ctr">
            <a:noFill/>
            <a:prstDash val="solid"/>
            <a:miter lim="800000"/>
          </a:ln>
          <a:effectLst/>
        </p:spPr>
        <p:txBody>
          <a:bodyPr rtlCol="0" anchor="ctr">
            <a:noAutofit/>
          </a:bodyPr>
          <a:lstStyle/>
          <a:p>
            <a:pPr algn="ctr" rtl="0"/>
            <a:r>
              <a:rPr lang="zh-Hans" sz="4000" b="1" i="0" u="none" strike="noStrike">
                <a:highlight>
                  <a:srgbClr val="000000">
                    <a:alpha val="0"/>
                  </a:srgbClr>
                </a:highlight>
                <a:latin typeface="Simsun"/>
                <a:ea typeface="Simsun"/>
                <a:cs typeface="Arial"/>
              </a:rPr>
              <a:t>IHR - MEF</a:t>
            </a:r>
          </a:p>
        </p:txBody>
      </p:sp>
      <p:sp>
        <p:nvSpPr>
          <p:cNvPr id="17" name="Rectangle 16">
            <a:extLst>
              <a:ext uri="{FF2B5EF4-FFF2-40B4-BE49-F238E27FC236}">
                <a16:creationId xmlns:a16="http://schemas.microsoft.com/office/drawing/2014/main" id="{E52EDE90-76D6-44B3-B778-E44A99B82619}"/>
              </a:ext>
            </a:extLst>
          </p:cNvPr>
          <p:cNvSpPr/>
          <p:nvPr/>
        </p:nvSpPr>
        <p:spPr>
          <a:xfrm>
            <a:off x="1489946" y="3634870"/>
            <a:ext cx="5146770" cy="1402879"/>
          </a:xfrm>
          <a:prstGeom prst="rect">
            <a:avLst/>
          </a:prstGeom>
          <a:solidFill>
            <a:schemeClr val="bg1"/>
          </a:solidFill>
          <a:ln w="12700" cap="flat" cmpd="sng" algn="ctr">
            <a:solidFill>
              <a:schemeClr val="tx1"/>
            </a:solidFill>
            <a:prstDash val="solid"/>
            <a:miter lim="800000"/>
          </a:ln>
          <a:effectLst/>
        </p:spPr>
        <p:txBody>
          <a:bodyPr rtlCol="0" anchor="ctr">
            <a:noAutofit/>
          </a:bodyPr>
          <a:lstStyle/>
          <a:p>
            <a:pPr algn="ctr" defTabSz="342900">
              <a:defRPr/>
            </a:pPr>
            <a:endParaRPr lang="en-GB" sz="1200" kern="0">
              <a:solidFill>
                <a:prstClr val="white"/>
              </a:solidFill>
              <a:latin typeface="Calibri"/>
            </a:endParaRPr>
          </a:p>
        </p:txBody>
      </p:sp>
      <p:sp>
        <p:nvSpPr>
          <p:cNvPr id="18" name="Rectangle 17">
            <a:extLst>
              <a:ext uri="{FF2B5EF4-FFF2-40B4-BE49-F238E27FC236}">
                <a16:creationId xmlns:a16="http://schemas.microsoft.com/office/drawing/2014/main" id="{2D20466F-79BA-487B-887F-98954243947C}"/>
              </a:ext>
            </a:extLst>
          </p:cNvPr>
          <p:cNvSpPr/>
          <p:nvPr/>
        </p:nvSpPr>
        <p:spPr>
          <a:xfrm>
            <a:off x="1489946" y="2214719"/>
            <a:ext cx="5146770" cy="1402879"/>
          </a:xfrm>
          <a:prstGeom prst="rect">
            <a:avLst/>
          </a:prstGeom>
          <a:solidFill>
            <a:schemeClr val="bg1"/>
          </a:solidFill>
          <a:ln w="12700" cap="flat" cmpd="sng" algn="ctr">
            <a:solidFill>
              <a:schemeClr val="tx1"/>
            </a:solidFill>
            <a:prstDash val="solid"/>
            <a:miter lim="800000"/>
          </a:ln>
          <a:effectLst/>
        </p:spPr>
        <p:txBody>
          <a:bodyPr rtlCol="0" anchor="ctr">
            <a:noAutofit/>
          </a:bodyPr>
          <a:lstStyle/>
          <a:p>
            <a:pPr algn="ctr" defTabSz="342900">
              <a:defRPr/>
            </a:pPr>
            <a:endParaRPr lang="en-GB" sz="1200" kern="0">
              <a:solidFill>
                <a:prstClr val="white"/>
              </a:solidFill>
              <a:latin typeface="Calibri" panose="020F0502020204030204"/>
            </a:endParaRPr>
          </a:p>
        </p:txBody>
      </p:sp>
      <p:grpSp>
        <p:nvGrpSpPr>
          <p:cNvPr id="19" name="Group 18">
            <a:extLst>
              <a:ext uri="{FF2B5EF4-FFF2-40B4-BE49-F238E27FC236}">
                <a16:creationId xmlns:a16="http://schemas.microsoft.com/office/drawing/2014/main" id="{ED60467A-F54B-41F1-91E1-12E2F890A449}"/>
              </a:ext>
            </a:extLst>
          </p:cNvPr>
          <p:cNvGrpSpPr/>
          <p:nvPr/>
        </p:nvGrpSpPr>
        <p:grpSpPr>
          <a:xfrm>
            <a:off x="1600829" y="4384079"/>
            <a:ext cx="2184672" cy="438794"/>
            <a:chOff x="1432981" y="3711933"/>
            <a:chExt cx="3883861" cy="780079"/>
          </a:xfrm>
        </p:grpSpPr>
        <p:sp>
          <p:nvSpPr>
            <p:cNvPr id="20" name="Freeform: Shape 19">
              <a:extLst>
                <a:ext uri="{FF2B5EF4-FFF2-40B4-BE49-F238E27FC236}">
                  <a16:creationId xmlns:a16="http://schemas.microsoft.com/office/drawing/2014/main" id="{B1034DCF-46B3-4E01-A27C-271DA1FCC1C9}"/>
                </a:ext>
              </a:extLst>
            </p:cNvPr>
            <p:cNvSpPr/>
            <p:nvPr/>
          </p:nvSpPr>
          <p:spPr>
            <a:xfrm>
              <a:off x="2318224" y="3784840"/>
              <a:ext cx="2855863"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rtl="0">
                <a:lnSpc>
                  <a:spcPct val="90000"/>
                </a:lnSpc>
                <a:spcBef>
                  <a:spcPct val="0"/>
                </a:spcBef>
                <a:spcAft>
                  <a:spcPct val="10000"/>
                </a:spcAft>
              </a:pPr>
              <a:r>
                <a:rPr lang="zh-Hans" sz="1000" b="1" i="0" u="none" strike="noStrike">
                  <a:highlight>
                    <a:srgbClr val="000000">
                      <a:alpha val="0"/>
                    </a:srgbClr>
                  </a:highlight>
                  <a:latin typeface="Simsun"/>
                  <a:ea typeface="Simsun"/>
                  <a:cs typeface="Arial"/>
                </a:rPr>
                <a:t>事后行动&amp;</a:t>
              </a:r>
            </a:p>
            <a:p>
              <a:pPr defTabSz="450056" rtl="0">
                <a:lnSpc>
                  <a:spcPct val="90000"/>
                </a:lnSpc>
                <a:spcBef>
                  <a:spcPct val="0"/>
                </a:spcBef>
                <a:spcAft>
                  <a:spcPct val="10000"/>
                </a:spcAft>
              </a:pPr>
              <a:r>
                <a:rPr lang="zh-Hans" sz="1000" b="1" i="0" u="none" strike="noStrike">
                  <a:highlight>
                    <a:srgbClr val="000000">
                      <a:alpha val="0"/>
                    </a:srgbClr>
                  </a:highlight>
                  <a:latin typeface="Simsun"/>
                  <a:ea typeface="Simsun"/>
                  <a:cs typeface="Arial"/>
                </a:rPr>
                <a:t>事中行动审查</a:t>
              </a:r>
              <a:endParaRPr lang="en-US" sz="1013"/>
            </a:p>
          </p:txBody>
        </p:sp>
        <p:sp>
          <p:nvSpPr>
            <p:cNvPr id="21" name="Arrow: Pentagon 20">
              <a:extLst>
                <a:ext uri="{FF2B5EF4-FFF2-40B4-BE49-F238E27FC236}">
                  <a16:creationId xmlns:a16="http://schemas.microsoft.com/office/drawing/2014/main" id="{F7F4BCDE-3305-4928-B233-2C79EDE1944B}"/>
                </a:ext>
              </a:extLst>
            </p:cNvPr>
            <p:cNvSpPr/>
            <p:nvPr/>
          </p:nvSpPr>
          <p:spPr>
            <a:xfrm rot="10800000">
              <a:off x="1795632" y="3729180"/>
              <a:ext cx="3521210" cy="745584"/>
            </a:xfrm>
            <a:prstGeom prst="homePlate">
              <a:avLst>
                <a:gd name="adj" fmla="val 68681"/>
              </a:avLst>
            </a:prstGeom>
            <a:noFill/>
            <a:ln w="38100">
              <a:solidFill>
                <a:srgbClr val="013D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13"/>
            </a:p>
          </p:txBody>
        </p:sp>
        <p:sp>
          <p:nvSpPr>
            <p:cNvPr id="22" name="Oval 21">
              <a:extLst>
                <a:ext uri="{FF2B5EF4-FFF2-40B4-BE49-F238E27FC236}">
                  <a16:creationId xmlns:a16="http://schemas.microsoft.com/office/drawing/2014/main" id="{CBD2487A-306E-4FD8-BB5D-AF0A040A87B1}"/>
                </a:ext>
              </a:extLst>
            </p:cNvPr>
            <p:cNvSpPr/>
            <p:nvPr/>
          </p:nvSpPr>
          <p:spPr>
            <a:xfrm>
              <a:off x="1432981" y="3711933"/>
              <a:ext cx="780242" cy="780079"/>
            </a:xfrm>
            <a:prstGeom prst="ellipse">
              <a:avLst/>
            </a:prstGeom>
            <a:blipFill rotWithShape="1">
              <a:blip r:embed="rId3">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oAutofit/>
            </a:bodyPr>
            <a:lstStyle/>
            <a:p>
              <a:endParaRPr/>
            </a:p>
          </p:txBody>
        </p:sp>
      </p:grpSp>
      <p:grpSp>
        <p:nvGrpSpPr>
          <p:cNvPr id="23" name="Group 22">
            <a:extLst>
              <a:ext uri="{FF2B5EF4-FFF2-40B4-BE49-F238E27FC236}">
                <a16:creationId xmlns:a16="http://schemas.microsoft.com/office/drawing/2014/main" id="{7004770E-C996-4F7D-830E-1A79E3E05CF0}"/>
              </a:ext>
            </a:extLst>
          </p:cNvPr>
          <p:cNvGrpSpPr/>
          <p:nvPr/>
        </p:nvGrpSpPr>
        <p:grpSpPr>
          <a:xfrm>
            <a:off x="1616231" y="3803249"/>
            <a:ext cx="2184672" cy="438794"/>
            <a:chOff x="1432981" y="4796460"/>
            <a:chExt cx="3883861" cy="780079"/>
          </a:xfrm>
        </p:grpSpPr>
        <p:sp>
          <p:nvSpPr>
            <p:cNvPr id="24" name="Freeform: Shape 23">
              <a:extLst>
                <a:ext uri="{FF2B5EF4-FFF2-40B4-BE49-F238E27FC236}">
                  <a16:creationId xmlns:a16="http://schemas.microsoft.com/office/drawing/2014/main" id="{4843369A-3622-461B-BC19-078A9314CCBA}"/>
                </a:ext>
              </a:extLst>
            </p:cNvPr>
            <p:cNvSpPr/>
            <p:nvPr/>
          </p:nvSpPr>
          <p:spPr>
            <a:xfrm>
              <a:off x="2226179" y="4869367"/>
              <a:ext cx="2947907"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rtl="0">
                <a:lnSpc>
                  <a:spcPct val="90000"/>
                </a:lnSpc>
                <a:spcBef>
                  <a:spcPct val="0"/>
                </a:spcBef>
                <a:spcAft>
                  <a:spcPct val="10000"/>
                </a:spcAft>
              </a:pPr>
              <a:r>
                <a:rPr lang="zh-Hans" sz="1100" b="1" i="0" u="none" strike="noStrike">
                  <a:highlight>
                    <a:srgbClr val="000000">
                      <a:alpha val="0"/>
                    </a:srgbClr>
                  </a:highlight>
                  <a:latin typeface="Simsun"/>
                  <a:ea typeface="Simsun"/>
                  <a:cs typeface="Arial"/>
                </a:rPr>
                <a:t>模拟演习</a:t>
              </a:r>
              <a:endParaRPr lang="en-US" sz="1100" b="1"/>
            </a:p>
          </p:txBody>
        </p:sp>
        <p:sp>
          <p:nvSpPr>
            <p:cNvPr id="25" name="Arrow: Pentagon 24">
              <a:extLst>
                <a:ext uri="{FF2B5EF4-FFF2-40B4-BE49-F238E27FC236}">
                  <a16:creationId xmlns:a16="http://schemas.microsoft.com/office/drawing/2014/main" id="{33F874F5-632E-441B-B63C-0AF254622502}"/>
                </a:ext>
              </a:extLst>
            </p:cNvPr>
            <p:cNvSpPr/>
            <p:nvPr/>
          </p:nvSpPr>
          <p:spPr>
            <a:xfrm rot="10800000">
              <a:off x="1795632" y="4813707"/>
              <a:ext cx="3521210" cy="745584"/>
            </a:xfrm>
            <a:prstGeom prst="homePlate">
              <a:avLst>
                <a:gd name="adj" fmla="val 68681"/>
              </a:avLst>
            </a:prstGeom>
            <a:noFill/>
            <a:ln w="38100">
              <a:solidFill>
                <a:srgbClr val="003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13"/>
            </a:p>
          </p:txBody>
        </p:sp>
        <p:sp>
          <p:nvSpPr>
            <p:cNvPr id="26" name="Oval 25">
              <a:extLst>
                <a:ext uri="{FF2B5EF4-FFF2-40B4-BE49-F238E27FC236}">
                  <a16:creationId xmlns:a16="http://schemas.microsoft.com/office/drawing/2014/main" id="{D7442959-18FB-4A5D-9297-EFD3DF1DB259}"/>
                </a:ext>
              </a:extLst>
            </p:cNvPr>
            <p:cNvSpPr/>
            <p:nvPr/>
          </p:nvSpPr>
          <p:spPr>
            <a:xfrm>
              <a:off x="1432981" y="4796460"/>
              <a:ext cx="780242" cy="780079"/>
            </a:xfrm>
            <a:prstGeom prst="ellipse">
              <a:avLst/>
            </a:prstGeom>
            <a:blipFill rotWithShape="1">
              <a:blip r:embed="rId4"/>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oAutofit/>
            </a:bodyPr>
            <a:lstStyle/>
            <a:p>
              <a:endParaRPr/>
            </a:p>
          </p:txBody>
        </p:sp>
      </p:grpSp>
      <p:grpSp>
        <p:nvGrpSpPr>
          <p:cNvPr id="27" name="Group 26">
            <a:extLst>
              <a:ext uri="{FF2B5EF4-FFF2-40B4-BE49-F238E27FC236}">
                <a16:creationId xmlns:a16="http://schemas.microsoft.com/office/drawing/2014/main" id="{296B4E2C-18FA-456E-B822-004F78ACBF29}"/>
              </a:ext>
            </a:extLst>
          </p:cNvPr>
          <p:cNvGrpSpPr/>
          <p:nvPr/>
        </p:nvGrpSpPr>
        <p:grpSpPr>
          <a:xfrm>
            <a:off x="1616231" y="3003313"/>
            <a:ext cx="2184671" cy="438794"/>
            <a:chOff x="1432981" y="2203482"/>
            <a:chExt cx="3883860" cy="780079"/>
          </a:xfrm>
        </p:grpSpPr>
        <p:sp>
          <p:nvSpPr>
            <p:cNvPr id="28" name="Freeform: Shape 27">
              <a:extLst>
                <a:ext uri="{FF2B5EF4-FFF2-40B4-BE49-F238E27FC236}">
                  <a16:creationId xmlns:a16="http://schemas.microsoft.com/office/drawing/2014/main" id="{470F01EC-C6E2-4489-8540-99C62AC2E0C2}"/>
                </a:ext>
              </a:extLst>
            </p:cNvPr>
            <p:cNvSpPr/>
            <p:nvPr/>
          </p:nvSpPr>
          <p:spPr>
            <a:xfrm>
              <a:off x="2420297" y="2276389"/>
              <a:ext cx="2853040"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rtl="0">
                <a:lnSpc>
                  <a:spcPct val="90000"/>
                </a:lnSpc>
                <a:spcBef>
                  <a:spcPct val="0"/>
                </a:spcBef>
                <a:spcAft>
                  <a:spcPct val="10000"/>
                </a:spcAft>
              </a:pPr>
              <a:r>
                <a:rPr lang="zh-Hans" sz="1000" b="1" i="0" u="none" strike="noStrike">
                  <a:highlight>
                    <a:srgbClr val="000000">
                      <a:alpha val="0"/>
                    </a:srgbClr>
                  </a:highlight>
                  <a:latin typeface="Simsun"/>
                  <a:ea typeface="Simsun"/>
                  <a:cs typeface="Arial"/>
                </a:rPr>
                <a:t>自愿外部评价</a:t>
              </a:r>
              <a:endParaRPr lang="en-US" sz="1013"/>
            </a:p>
          </p:txBody>
        </p:sp>
        <p:sp>
          <p:nvSpPr>
            <p:cNvPr id="29" name="Arrow: Pentagon 28">
              <a:extLst>
                <a:ext uri="{FF2B5EF4-FFF2-40B4-BE49-F238E27FC236}">
                  <a16:creationId xmlns:a16="http://schemas.microsoft.com/office/drawing/2014/main" id="{BD4B1137-A57A-406E-A7CC-90C52FC58CE3}"/>
                </a:ext>
              </a:extLst>
            </p:cNvPr>
            <p:cNvSpPr/>
            <p:nvPr/>
          </p:nvSpPr>
          <p:spPr>
            <a:xfrm rot="10800000">
              <a:off x="1795631" y="2220729"/>
              <a:ext cx="3521210" cy="745584"/>
            </a:xfrm>
            <a:prstGeom prst="homePlate">
              <a:avLst>
                <a:gd name="adj" fmla="val 68681"/>
              </a:avLst>
            </a:prstGeom>
            <a:noFill/>
            <a:ln w="38100">
              <a:solidFill>
                <a:srgbClr val="0085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13"/>
            </a:p>
          </p:txBody>
        </p:sp>
        <p:sp>
          <p:nvSpPr>
            <p:cNvPr id="30" name="Oval 29">
              <a:extLst>
                <a:ext uri="{FF2B5EF4-FFF2-40B4-BE49-F238E27FC236}">
                  <a16:creationId xmlns:a16="http://schemas.microsoft.com/office/drawing/2014/main" id="{FD31BDD0-15DB-4FC0-81F6-35F8E88617B4}"/>
                </a:ext>
              </a:extLst>
            </p:cNvPr>
            <p:cNvSpPr/>
            <p:nvPr/>
          </p:nvSpPr>
          <p:spPr>
            <a:xfrm>
              <a:off x="1432981" y="2203482"/>
              <a:ext cx="780242" cy="780079"/>
            </a:xfrm>
            <a:prstGeom prst="ellipse">
              <a:avLst/>
            </a:prstGeom>
            <a:blipFill rotWithShape="1">
              <a:blip r:embed="rId5">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oAutofit/>
            </a:bodyPr>
            <a:lstStyle/>
            <a:p>
              <a:endParaRPr/>
            </a:p>
          </p:txBody>
        </p:sp>
      </p:grpSp>
      <p:sp>
        <p:nvSpPr>
          <p:cNvPr id="31" name="TextBox 30">
            <a:extLst>
              <a:ext uri="{FF2B5EF4-FFF2-40B4-BE49-F238E27FC236}">
                <a16:creationId xmlns:a16="http://schemas.microsoft.com/office/drawing/2014/main" id="{25458604-9201-41B8-B616-B59C1E2C28D6}"/>
              </a:ext>
            </a:extLst>
          </p:cNvPr>
          <p:cNvSpPr txBox="1"/>
          <p:nvPr/>
        </p:nvSpPr>
        <p:spPr>
          <a:xfrm>
            <a:off x="4264860" y="3071716"/>
            <a:ext cx="1573749" cy="307777"/>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algn="ctr" rtl="0"/>
            <a:r>
              <a:rPr lang="zh-Hans" sz="1400" b="0" i="0" u="none" strike="noStrike">
                <a:solidFill>
                  <a:srgbClr val="000000"/>
                </a:solidFill>
                <a:highlight>
                  <a:srgbClr val="000000">
                    <a:alpha val="0"/>
                  </a:srgbClr>
                </a:highlight>
                <a:latin typeface="Simsun"/>
                <a:ea typeface="Simsun"/>
                <a:cs typeface="Arial"/>
              </a:rPr>
              <a:t>自愿工具</a:t>
            </a:r>
          </a:p>
        </p:txBody>
      </p:sp>
      <p:sp>
        <p:nvSpPr>
          <p:cNvPr id="32" name="TextBox 31">
            <a:extLst>
              <a:ext uri="{FF2B5EF4-FFF2-40B4-BE49-F238E27FC236}">
                <a16:creationId xmlns:a16="http://schemas.microsoft.com/office/drawing/2014/main" id="{E363A935-E1EA-44AD-AA63-68814EEDA49F}"/>
              </a:ext>
            </a:extLst>
          </p:cNvPr>
          <p:cNvSpPr txBox="1"/>
          <p:nvPr/>
        </p:nvSpPr>
        <p:spPr>
          <a:xfrm>
            <a:off x="4232944" y="4069642"/>
            <a:ext cx="1619488" cy="523220"/>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algn="ctr" rtl="0"/>
            <a:r>
              <a:rPr lang="zh-Hans" sz="1400" b="0" i="0" u="none" strike="noStrike">
                <a:solidFill>
                  <a:srgbClr val="000000"/>
                </a:solidFill>
                <a:highlight>
                  <a:srgbClr val="000000">
                    <a:alpha val="0"/>
                  </a:srgbClr>
                </a:highlight>
                <a:latin typeface="Simsun"/>
                <a:ea typeface="Simsun"/>
                <a:cs typeface="Arial"/>
              </a:rPr>
              <a:t>功能评估</a:t>
            </a:r>
          </a:p>
        </p:txBody>
      </p:sp>
      <p:cxnSp>
        <p:nvCxnSpPr>
          <p:cNvPr id="33" name="Elbow Connector 38">
            <a:extLst>
              <a:ext uri="{FF2B5EF4-FFF2-40B4-BE49-F238E27FC236}">
                <a16:creationId xmlns:a16="http://schemas.microsoft.com/office/drawing/2014/main" id="{96AE0ACD-0F0D-4586-A740-0E8B0D00B43A}"/>
              </a:ext>
            </a:extLst>
          </p:cNvPr>
          <p:cNvCxnSpPr>
            <a:stCxn id="21" idx="1"/>
            <a:endCxn id="32" idx="1"/>
          </p:cNvCxnSpPr>
          <p:nvPr/>
        </p:nvCxnSpPr>
        <p:spPr>
          <a:xfrm flipV="1">
            <a:off x="3785501" y="4331252"/>
            <a:ext cx="447443" cy="272223"/>
          </a:xfrm>
          <a:prstGeom prst="bentConnector3">
            <a:avLst/>
          </a:prstGeom>
          <a:ln w="12700"/>
        </p:spPr>
        <p:style>
          <a:lnRef idx="1">
            <a:schemeClr val="dk1"/>
          </a:lnRef>
          <a:fillRef idx="0">
            <a:schemeClr val="dk1"/>
          </a:fillRef>
          <a:effectRef idx="0">
            <a:schemeClr val="dk1"/>
          </a:effectRef>
          <a:fontRef idx="minor">
            <a:schemeClr val="tx1"/>
          </a:fontRef>
        </p:style>
      </p:cxnSp>
      <p:cxnSp>
        <p:nvCxnSpPr>
          <p:cNvPr id="34" name="Elbow Connector 38">
            <a:extLst>
              <a:ext uri="{FF2B5EF4-FFF2-40B4-BE49-F238E27FC236}">
                <a16:creationId xmlns:a16="http://schemas.microsoft.com/office/drawing/2014/main" id="{71156BAC-C019-41C7-9C98-88683D782849}"/>
              </a:ext>
            </a:extLst>
          </p:cNvPr>
          <p:cNvCxnSpPr>
            <a:stCxn id="25" idx="1"/>
            <a:endCxn id="32" idx="1"/>
          </p:cNvCxnSpPr>
          <p:nvPr/>
        </p:nvCxnSpPr>
        <p:spPr>
          <a:xfrm>
            <a:off x="3800903" y="4022645"/>
            <a:ext cx="432041" cy="30860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Elbow Connector 38">
            <a:extLst>
              <a:ext uri="{FF2B5EF4-FFF2-40B4-BE49-F238E27FC236}">
                <a16:creationId xmlns:a16="http://schemas.microsoft.com/office/drawing/2014/main" id="{CE1F4FB4-CA95-4F47-AD7D-FBC123C864F2}"/>
              </a:ext>
            </a:extLst>
          </p:cNvPr>
          <p:cNvCxnSpPr>
            <a:stCxn id="29" idx="1"/>
            <a:endCxn id="31" idx="1"/>
          </p:cNvCxnSpPr>
          <p:nvPr/>
        </p:nvCxnSpPr>
        <p:spPr>
          <a:xfrm>
            <a:off x="3800902" y="3222709"/>
            <a:ext cx="463958" cy="2896"/>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Elbow Connector 38">
            <a:extLst>
              <a:ext uri="{FF2B5EF4-FFF2-40B4-BE49-F238E27FC236}">
                <a16:creationId xmlns:a16="http://schemas.microsoft.com/office/drawing/2014/main" id="{A26D3592-1B67-42CE-9B4F-99EC8671F6FA}"/>
              </a:ext>
            </a:extLst>
          </p:cNvPr>
          <p:cNvCxnSpPr>
            <a:stCxn id="44" idx="1"/>
          </p:cNvCxnSpPr>
          <p:nvPr/>
        </p:nvCxnSpPr>
        <p:spPr>
          <a:xfrm>
            <a:off x="3800902" y="2561029"/>
            <a:ext cx="463958"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22">
            <a:extLst>
              <a:ext uri="{FF2B5EF4-FFF2-40B4-BE49-F238E27FC236}">
                <a16:creationId xmlns:a16="http://schemas.microsoft.com/office/drawing/2014/main" id="{247ADDBA-9590-4362-A0CC-043F8EB78A69}"/>
              </a:ext>
            </a:extLst>
          </p:cNvPr>
          <p:cNvSpPr txBox="1"/>
          <p:nvPr/>
        </p:nvSpPr>
        <p:spPr>
          <a:xfrm rot="5416703">
            <a:off x="5819374" y="4228819"/>
            <a:ext cx="1403006" cy="248209"/>
          </a:xfrm>
          <a:prstGeom prst="rect">
            <a:avLst/>
          </a:prstGeom>
          <a:solidFill>
            <a:schemeClr val="tx1">
              <a:lumMod val="50000"/>
              <a:lumOff val="50000"/>
            </a:schemeClr>
          </a:solidFill>
          <a:ln>
            <a:noFill/>
          </a:ln>
        </p:spPr>
        <p:txBody>
          <a:bodyPr wrap="square" rtlCol="0">
            <a:noAutofit/>
          </a:bodyPr>
          <a:lstStyle/>
          <a:p>
            <a:pPr algn="ctr" defTabSz="257175" rtl="0">
              <a:defRPr/>
            </a:pPr>
            <a:r>
              <a:rPr lang="zh-Hans" sz="1000" b="1" i="0" u="none" strike="noStrike">
                <a:solidFill>
                  <a:srgbClr val="FFFFFF"/>
                </a:solidFill>
                <a:highlight>
                  <a:srgbClr val="000000">
                    <a:alpha val="0"/>
                  </a:srgbClr>
                </a:highlight>
                <a:latin typeface="Simsun"/>
                <a:ea typeface="Simsun"/>
                <a:cs typeface="Arial"/>
              </a:rPr>
              <a:t>定性</a:t>
            </a:r>
            <a:endParaRPr lang="en-US" sz="1013" b="1">
              <a:solidFill>
                <a:schemeClr val="bg1"/>
              </a:solidFill>
              <a:latin typeface="Arial" panose="020B0604020202020204" pitchFamily="34" charset="0"/>
              <a:ea typeface="Roboto" pitchFamily="2" charset="0"/>
              <a:cs typeface="Arial" panose="020B0604020202020204" pitchFamily="34" charset="0"/>
            </a:endParaRPr>
          </a:p>
        </p:txBody>
      </p:sp>
      <p:sp>
        <p:nvSpPr>
          <p:cNvPr id="38" name="TextBox 22">
            <a:extLst>
              <a:ext uri="{FF2B5EF4-FFF2-40B4-BE49-F238E27FC236}">
                <a16:creationId xmlns:a16="http://schemas.microsoft.com/office/drawing/2014/main" id="{7E537510-5393-442A-A4DC-E778512172DB}"/>
              </a:ext>
            </a:extLst>
          </p:cNvPr>
          <p:cNvSpPr txBox="1"/>
          <p:nvPr/>
        </p:nvSpPr>
        <p:spPr>
          <a:xfrm rot="5416703">
            <a:off x="5818988" y="2791565"/>
            <a:ext cx="1402350" cy="248209"/>
          </a:xfrm>
          <a:prstGeom prst="rect">
            <a:avLst/>
          </a:prstGeom>
          <a:solidFill>
            <a:schemeClr val="tx1">
              <a:lumMod val="50000"/>
              <a:lumOff val="50000"/>
            </a:schemeClr>
          </a:solidFill>
          <a:ln>
            <a:noFill/>
          </a:ln>
        </p:spPr>
        <p:txBody>
          <a:bodyPr wrap="square" rtlCol="0">
            <a:noAutofit/>
          </a:bodyPr>
          <a:lstStyle/>
          <a:p>
            <a:pPr algn="ctr" defTabSz="257175" rtl="0">
              <a:defRPr/>
            </a:pPr>
            <a:r>
              <a:rPr lang="zh-Hans" sz="1000" b="1" i="0" u="none" strike="noStrike">
                <a:solidFill>
                  <a:srgbClr val="FFFFFF"/>
                </a:solidFill>
                <a:highlight>
                  <a:srgbClr val="000000">
                    <a:alpha val="0"/>
                  </a:srgbClr>
                </a:highlight>
                <a:latin typeface="Simsun"/>
                <a:ea typeface="Simsun"/>
                <a:cs typeface="Arial"/>
              </a:rPr>
              <a:t>定量</a:t>
            </a:r>
            <a:endParaRPr lang="en-US" sz="1013" b="1">
              <a:solidFill>
                <a:schemeClr val="bg1"/>
              </a:solidFill>
              <a:latin typeface="Arial" panose="020B0604020202020204" pitchFamily="34" charset="0"/>
              <a:ea typeface="Roboto" pitchFamily="2" charset="0"/>
              <a:cs typeface="Arial" panose="020B0604020202020204" pitchFamily="34" charset="0"/>
            </a:endParaRPr>
          </a:p>
        </p:txBody>
      </p:sp>
      <p:sp>
        <p:nvSpPr>
          <p:cNvPr id="39" name="TextBox 38">
            <a:extLst>
              <a:ext uri="{FF2B5EF4-FFF2-40B4-BE49-F238E27FC236}">
                <a16:creationId xmlns:a16="http://schemas.microsoft.com/office/drawing/2014/main" id="{DC60D384-8428-4B75-B195-588B9F72186D}"/>
              </a:ext>
            </a:extLst>
          </p:cNvPr>
          <p:cNvSpPr txBox="1"/>
          <p:nvPr/>
        </p:nvSpPr>
        <p:spPr>
          <a:xfrm>
            <a:off x="4274647" y="2407140"/>
            <a:ext cx="1563962" cy="307777"/>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algn="ctr" rtl="0"/>
            <a:r>
              <a:rPr lang="zh-Hans" sz="1400" b="0" i="0" u="none" strike="noStrike">
                <a:solidFill>
                  <a:srgbClr val="000000"/>
                </a:solidFill>
                <a:highlight>
                  <a:srgbClr val="000000">
                    <a:alpha val="0"/>
                  </a:srgbClr>
                </a:highlight>
                <a:latin typeface="Simsun"/>
                <a:ea typeface="Simsun"/>
                <a:cs typeface="Arial"/>
              </a:rPr>
              <a:t>强制性工具</a:t>
            </a:r>
          </a:p>
        </p:txBody>
      </p:sp>
      <p:sp>
        <p:nvSpPr>
          <p:cNvPr id="40" name="TextBox 16">
            <a:extLst>
              <a:ext uri="{FF2B5EF4-FFF2-40B4-BE49-F238E27FC236}">
                <a16:creationId xmlns:a16="http://schemas.microsoft.com/office/drawing/2014/main" id="{B8344C6B-5DF9-4E2D-A855-DD6383053817}"/>
              </a:ext>
            </a:extLst>
          </p:cNvPr>
          <p:cNvSpPr txBox="1"/>
          <p:nvPr/>
        </p:nvSpPr>
        <p:spPr>
          <a:xfrm>
            <a:off x="6715022" y="2249875"/>
            <a:ext cx="2397883" cy="1384995"/>
          </a:xfrm>
          <a:prstGeom prst="rect">
            <a:avLst/>
          </a:prstGeom>
          <a:solidFill>
            <a:schemeClr val="bg1"/>
          </a:solidFill>
        </p:spPr>
        <p:txBody>
          <a:bodyPr wrap="square" rtlCol="0">
            <a:noAutofit/>
          </a:bodyPr>
          <a:lstStyle/>
          <a:p>
            <a:pPr defTabSz="342900" rtl="0">
              <a:defRPr/>
            </a:pPr>
            <a:r>
              <a:rPr lang="zh-Hans" sz="1400" b="1" i="0" u="none" strike="noStrike" kern="0">
                <a:solidFill>
                  <a:srgbClr val="000000"/>
                </a:solidFill>
                <a:highlight>
                  <a:srgbClr val="000000">
                    <a:alpha val="0"/>
                  </a:srgbClr>
                </a:highlight>
                <a:latin typeface="Simsun"/>
                <a:ea typeface="Simsun"/>
                <a:cs typeface="Arial"/>
              </a:rPr>
              <a:t>通过以下方式进行IHR能力评估</a:t>
            </a:r>
          </a:p>
          <a:p>
            <a:pPr marL="257175" indent="-257175" defTabSz="342900" rtl="0">
              <a:buFont typeface="Arial" panose="020B0604020202020204" pitchFamily="34" charset="0"/>
              <a:buChar char="•"/>
              <a:defRPr/>
            </a:pPr>
            <a:r>
              <a:rPr lang="zh-Hans" sz="1400" b="0" i="0" u="none" strike="noStrike" kern="0">
                <a:solidFill>
                  <a:srgbClr val="000000"/>
                </a:solidFill>
                <a:highlight>
                  <a:srgbClr val="000000">
                    <a:alpha val="0"/>
                  </a:srgbClr>
                </a:highlight>
                <a:latin typeface="Simsun"/>
                <a:ea typeface="Simsun"/>
                <a:cs typeface="Arial"/>
              </a:rPr>
              <a:t>自我评估</a:t>
            </a:r>
          </a:p>
          <a:p>
            <a:pPr marL="257175" indent="-257175" defTabSz="342900" rtl="0">
              <a:buFont typeface="Arial" panose="020B0604020202020204" pitchFamily="34" charset="0"/>
              <a:buChar char="•"/>
              <a:defRPr/>
            </a:pPr>
            <a:r>
              <a:rPr lang="zh-Hans" sz="1400" b="0" i="0" u="none" strike="noStrike" kern="0">
                <a:solidFill>
                  <a:srgbClr val="000000"/>
                </a:solidFill>
                <a:highlight>
                  <a:srgbClr val="000000">
                    <a:alpha val="0"/>
                  </a:srgbClr>
                </a:highlight>
                <a:latin typeface="Simsun"/>
                <a:ea typeface="Simsun"/>
                <a:cs typeface="Arial"/>
              </a:rPr>
              <a:t>促进深入讨论</a:t>
            </a:r>
          </a:p>
          <a:p>
            <a:pPr marL="257175" indent="-257175" defTabSz="342900" rtl="0">
              <a:buFont typeface="Arial" panose="020B0604020202020204" pitchFamily="34" charset="0"/>
              <a:buChar char="•"/>
              <a:defRPr/>
            </a:pPr>
            <a:r>
              <a:rPr lang="zh-Hans" sz="1400" b="0" i="0" u="none" strike="noStrike" kern="0">
                <a:solidFill>
                  <a:srgbClr val="000000"/>
                </a:solidFill>
                <a:highlight>
                  <a:srgbClr val="000000">
                    <a:alpha val="0"/>
                  </a:srgbClr>
                </a:highlight>
                <a:latin typeface="Simsun"/>
                <a:ea typeface="Simsun"/>
                <a:cs typeface="Arial"/>
              </a:rPr>
              <a:t>有组织的现场调研</a:t>
            </a:r>
          </a:p>
        </p:txBody>
      </p:sp>
      <p:sp>
        <p:nvSpPr>
          <p:cNvPr id="41" name="TextBox 16">
            <a:extLst>
              <a:ext uri="{FF2B5EF4-FFF2-40B4-BE49-F238E27FC236}">
                <a16:creationId xmlns:a16="http://schemas.microsoft.com/office/drawing/2014/main" id="{1960B256-D656-4E53-A7C9-C95CA1043D9D}"/>
              </a:ext>
            </a:extLst>
          </p:cNvPr>
          <p:cNvSpPr txBox="1"/>
          <p:nvPr/>
        </p:nvSpPr>
        <p:spPr>
          <a:xfrm>
            <a:off x="6715023" y="3803249"/>
            <a:ext cx="2397883" cy="1384995"/>
          </a:xfrm>
          <a:prstGeom prst="rect">
            <a:avLst/>
          </a:prstGeom>
          <a:solidFill>
            <a:schemeClr val="bg1"/>
          </a:solidFill>
        </p:spPr>
        <p:txBody>
          <a:bodyPr wrap="square" rtlCol="0">
            <a:noAutofit/>
          </a:bodyPr>
          <a:lstStyle/>
          <a:p>
            <a:pPr defTabSz="342900" rtl="0">
              <a:defRPr/>
            </a:pPr>
            <a:r>
              <a:rPr lang="zh-Hans" sz="1400" b="1" i="0" u="none" strike="noStrike" kern="0">
                <a:solidFill>
                  <a:srgbClr val="000000"/>
                </a:solidFill>
                <a:highlight>
                  <a:srgbClr val="000000">
                    <a:alpha val="0"/>
                  </a:srgbClr>
                </a:highlight>
                <a:latin typeface="Simsun"/>
                <a:ea typeface="Simsun"/>
                <a:cs typeface="Arial"/>
              </a:rPr>
              <a:t>对功能能力的评估</a:t>
            </a:r>
          </a:p>
          <a:p>
            <a:pPr marL="257175" indent="-257175" defTabSz="342900" rtl="0">
              <a:buFont typeface="Arial" panose="020B0604020202020204" pitchFamily="34" charset="0"/>
              <a:buChar char="•"/>
              <a:defRPr/>
            </a:pPr>
            <a:r>
              <a:rPr lang="zh-Hans" sz="1400" b="0" i="0" u="none" strike="noStrike" kern="0">
                <a:solidFill>
                  <a:srgbClr val="000000"/>
                </a:solidFill>
                <a:highlight>
                  <a:srgbClr val="000000">
                    <a:alpha val="0"/>
                  </a:srgbClr>
                </a:highlight>
                <a:latin typeface="Simsun"/>
                <a:ea typeface="Simsun"/>
                <a:cs typeface="Arial"/>
              </a:rPr>
              <a:t>IHR应该如何运作？</a:t>
            </a:r>
          </a:p>
          <a:p>
            <a:pPr marL="257175" indent="-257175" defTabSz="342900" rtl="0">
              <a:buFont typeface="Arial" panose="020B0604020202020204" pitchFamily="34" charset="0"/>
              <a:buChar char="•"/>
              <a:defRPr/>
            </a:pPr>
            <a:r>
              <a:rPr lang="zh-Hans" sz="1400" b="0" i="0" u="none" strike="noStrike" kern="0">
                <a:solidFill>
                  <a:srgbClr val="000000"/>
                </a:solidFill>
                <a:highlight>
                  <a:srgbClr val="000000">
                    <a:alpha val="0"/>
                  </a:srgbClr>
                </a:highlight>
                <a:latin typeface="Simsun"/>
                <a:ea typeface="Simsun"/>
                <a:cs typeface="Arial"/>
              </a:rPr>
              <a:t>IHR是否有效？</a:t>
            </a:r>
          </a:p>
          <a:p>
            <a:pPr marL="257175" indent="-257175" defTabSz="342900" rtl="0">
              <a:buFont typeface="Arial" panose="020B0604020202020204" pitchFamily="34" charset="0"/>
              <a:buChar char="•"/>
              <a:defRPr/>
            </a:pPr>
            <a:r>
              <a:rPr lang="zh-Hans" sz="1400" b="0" i="0" u="none" strike="noStrike" kern="0">
                <a:solidFill>
                  <a:srgbClr val="000000"/>
                </a:solidFill>
                <a:highlight>
                  <a:srgbClr val="000000">
                    <a:alpha val="0"/>
                  </a:srgbClr>
                </a:highlight>
                <a:latin typeface="Simsun"/>
                <a:ea typeface="Simsun"/>
                <a:cs typeface="Arial"/>
              </a:rPr>
              <a:t>我们可以如何改进IHR？</a:t>
            </a:r>
          </a:p>
          <a:p>
            <a:pPr defTabSz="342900">
              <a:defRPr/>
            </a:pPr>
            <a:endParaRPr lang="en-GB" sz="1400" kern="0">
              <a:solidFill>
                <a:prstClr val="black"/>
              </a:solidFill>
              <a:latin typeface="Arial" panose="020B0604020202020204" pitchFamily="34" charset="0"/>
              <a:ea typeface="Roboto" pitchFamily="2" charset="0"/>
              <a:cs typeface="Arial" panose="020B0604020202020204" pitchFamily="34" charset="0"/>
            </a:endParaRPr>
          </a:p>
        </p:txBody>
      </p:sp>
      <p:grpSp>
        <p:nvGrpSpPr>
          <p:cNvPr id="42" name="Group 41">
            <a:extLst>
              <a:ext uri="{FF2B5EF4-FFF2-40B4-BE49-F238E27FC236}">
                <a16:creationId xmlns:a16="http://schemas.microsoft.com/office/drawing/2014/main" id="{C7D1655C-002C-491C-983F-38F510921257}"/>
              </a:ext>
            </a:extLst>
          </p:cNvPr>
          <p:cNvGrpSpPr/>
          <p:nvPr/>
        </p:nvGrpSpPr>
        <p:grpSpPr>
          <a:xfrm>
            <a:off x="1616231" y="2341633"/>
            <a:ext cx="2184671" cy="438794"/>
            <a:chOff x="1432981" y="1206678"/>
            <a:chExt cx="3883860" cy="780079"/>
          </a:xfrm>
        </p:grpSpPr>
        <p:sp>
          <p:nvSpPr>
            <p:cNvPr id="43" name="Freeform: Shape 42">
              <a:extLst>
                <a:ext uri="{FF2B5EF4-FFF2-40B4-BE49-F238E27FC236}">
                  <a16:creationId xmlns:a16="http://schemas.microsoft.com/office/drawing/2014/main" id="{187BABB3-8DEC-4326-8793-A4DA2C70EB8E}"/>
                </a:ext>
              </a:extLst>
            </p:cNvPr>
            <p:cNvSpPr/>
            <p:nvPr/>
          </p:nvSpPr>
          <p:spPr>
            <a:xfrm>
              <a:off x="2420299" y="1279584"/>
              <a:ext cx="2753789"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rtl="0">
                <a:lnSpc>
                  <a:spcPct val="90000"/>
                </a:lnSpc>
                <a:spcBef>
                  <a:spcPct val="0"/>
                </a:spcBef>
                <a:spcAft>
                  <a:spcPct val="10000"/>
                </a:spcAft>
              </a:pPr>
              <a:r>
                <a:rPr lang="zh-Hans" sz="1000" b="1" i="0" u="none" strike="noStrike">
                  <a:highlight>
                    <a:srgbClr val="000000">
                      <a:alpha val="0"/>
                    </a:srgbClr>
                  </a:highlight>
                  <a:latin typeface="Simsun"/>
                  <a:ea typeface="Simsun"/>
                  <a:cs typeface="Arial"/>
                </a:rPr>
                <a:t>缔约国年度报告</a:t>
              </a:r>
              <a:endParaRPr lang="en-US" sz="1013"/>
            </a:p>
          </p:txBody>
        </p:sp>
        <p:sp>
          <p:nvSpPr>
            <p:cNvPr id="44" name="Arrow: Pentagon 43">
              <a:extLst>
                <a:ext uri="{FF2B5EF4-FFF2-40B4-BE49-F238E27FC236}">
                  <a16:creationId xmlns:a16="http://schemas.microsoft.com/office/drawing/2014/main" id="{F007A61E-19B3-4102-ADE4-5929574B7E6C}"/>
                </a:ext>
              </a:extLst>
            </p:cNvPr>
            <p:cNvSpPr/>
            <p:nvPr/>
          </p:nvSpPr>
          <p:spPr>
            <a:xfrm rot="10800000">
              <a:off x="1795630" y="1223925"/>
              <a:ext cx="3521211" cy="745584"/>
            </a:xfrm>
            <a:prstGeom prst="homePlate">
              <a:avLst>
                <a:gd name="adj" fmla="val 68681"/>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13"/>
            </a:p>
          </p:txBody>
        </p:sp>
        <p:sp>
          <p:nvSpPr>
            <p:cNvPr id="45" name="Oval 44">
              <a:extLst>
                <a:ext uri="{FF2B5EF4-FFF2-40B4-BE49-F238E27FC236}">
                  <a16:creationId xmlns:a16="http://schemas.microsoft.com/office/drawing/2014/main" id="{E70375F2-EC50-43CA-B58F-5B863B240D9F}"/>
                </a:ext>
              </a:extLst>
            </p:cNvPr>
            <p:cNvSpPr/>
            <p:nvPr/>
          </p:nvSpPr>
          <p:spPr>
            <a:xfrm>
              <a:off x="1432981" y="1206678"/>
              <a:ext cx="780242" cy="780079"/>
            </a:xfrm>
            <a:prstGeom prst="ellipse">
              <a:avLst/>
            </a:prstGeom>
            <a:blipFill rotWithShape="1">
              <a:blip r:embed="rId6">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noAutofit/>
            </a:bodyPr>
            <a:lstStyle/>
            <a:p>
              <a:endParaRPr/>
            </a:p>
          </p:txBody>
        </p:sp>
      </p:grpSp>
      <p:sp>
        <p:nvSpPr>
          <p:cNvPr id="46" name="Rectangle 45">
            <a:extLst>
              <a:ext uri="{FF2B5EF4-FFF2-40B4-BE49-F238E27FC236}">
                <a16:creationId xmlns:a16="http://schemas.microsoft.com/office/drawing/2014/main" id="{6F091E0C-00A5-4ADC-90A9-B99C7D57CBCE}"/>
              </a:ext>
            </a:extLst>
          </p:cNvPr>
          <p:cNvSpPr/>
          <p:nvPr/>
        </p:nvSpPr>
        <p:spPr>
          <a:xfrm>
            <a:off x="528320" y="2214719"/>
            <a:ext cx="8584586" cy="284030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47" name="Elbow Connector 38">
            <a:extLst>
              <a:ext uri="{FF2B5EF4-FFF2-40B4-BE49-F238E27FC236}">
                <a16:creationId xmlns:a16="http://schemas.microsoft.com/office/drawing/2014/main" id="{BBA4BCD7-298F-4BF3-B0C1-BF49EDFE25A8}"/>
              </a:ext>
            </a:extLst>
          </p:cNvPr>
          <p:cNvCxnSpPr/>
          <p:nvPr/>
        </p:nvCxnSpPr>
        <p:spPr>
          <a:xfrm flipV="1">
            <a:off x="9112905" y="3761225"/>
            <a:ext cx="325735" cy="97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159754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2A928D1-A379-4899-88C5-0CD65FC8D205}"/>
              </a:ext>
            </a:extLst>
          </p:cNvPr>
          <p:cNvSpPr/>
          <p:nvPr/>
        </p:nvSpPr>
        <p:spPr>
          <a:xfrm>
            <a:off x="7146524" y="3176"/>
            <a:ext cx="5045476" cy="685482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 name="Oval 15">
            <a:extLst>
              <a:ext uri="{FF2B5EF4-FFF2-40B4-BE49-F238E27FC236}">
                <a16:creationId xmlns:a16="http://schemas.microsoft.com/office/drawing/2014/main" id="{14233AA4-F7A5-43A7-92E8-00345DAF3455}"/>
              </a:ext>
            </a:extLst>
          </p:cNvPr>
          <p:cNvSpPr>
            <a:spLocks noChangeAspect="1"/>
          </p:cNvSpPr>
          <p:nvPr/>
        </p:nvSpPr>
        <p:spPr>
          <a:xfrm>
            <a:off x="1351013" y="1511488"/>
            <a:ext cx="4330105" cy="4330105"/>
          </a:xfrm>
          <a:prstGeom prst="ellipse">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Oval 6">
            <a:extLst>
              <a:ext uri="{FF2B5EF4-FFF2-40B4-BE49-F238E27FC236}">
                <a16:creationId xmlns:a16="http://schemas.microsoft.com/office/drawing/2014/main" id="{76DD29BA-627E-46B7-9459-394F93FA2C4E}"/>
              </a:ext>
            </a:extLst>
          </p:cNvPr>
          <p:cNvSpPr>
            <a:spLocks noChangeAspect="1"/>
          </p:cNvSpPr>
          <p:nvPr/>
        </p:nvSpPr>
        <p:spPr>
          <a:xfrm rot="2723860">
            <a:off x="1698165" y="2678962"/>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a:ln>
                <a:noFill/>
              </a:ln>
              <a:solidFill>
                <a:prstClr val="black"/>
              </a:solidFill>
              <a:effectLst/>
              <a:uLnTx/>
              <a:uFillTx/>
              <a:latin typeface="Calibri"/>
              <a:ea typeface="+mn-ea"/>
              <a:cs typeface="+mn-cs"/>
            </a:endParaRPr>
          </a:p>
        </p:txBody>
      </p:sp>
      <p:sp>
        <p:nvSpPr>
          <p:cNvPr id="6" name="Oval 5">
            <a:extLst>
              <a:ext uri="{FF2B5EF4-FFF2-40B4-BE49-F238E27FC236}">
                <a16:creationId xmlns:a16="http://schemas.microsoft.com/office/drawing/2014/main" id="{0CFE0312-1FC9-4AB5-9CBA-A4AEA9E4AD0B}"/>
              </a:ext>
            </a:extLst>
          </p:cNvPr>
          <p:cNvSpPr>
            <a:spLocks noChangeAspect="1"/>
          </p:cNvSpPr>
          <p:nvPr/>
        </p:nvSpPr>
        <p:spPr>
          <a:xfrm rot="2723860">
            <a:off x="2992839" y="2677848"/>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DA26C471-FCA9-4D3E-A788-DB0630D6E617}"/>
              </a:ext>
            </a:extLst>
          </p:cNvPr>
          <p:cNvSpPr>
            <a:spLocks noChangeAspect="1"/>
          </p:cNvSpPr>
          <p:nvPr/>
        </p:nvSpPr>
        <p:spPr>
          <a:xfrm rot="2723860">
            <a:off x="2389781" y="2322021"/>
            <a:ext cx="2334375" cy="2335708"/>
          </a:xfrm>
          <a:prstGeom prst="ellipse">
            <a:avLst/>
          </a:prstGeom>
          <a:solidFill>
            <a:srgbClr val="FFFFFF">
              <a:alpha val="69804"/>
            </a:srgbClr>
          </a:solidFill>
          <a:ln w="38100" cap="flat" cmpd="sng" algn="ctr">
            <a:gradFill flip="none" rotWithShape="1">
              <a:gsLst>
                <a:gs pos="0">
                  <a:srgbClr val="002060">
                    <a:alpha val="79000"/>
                  </a:srgbClr>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6AB185ED-8AD2-476A-8BCF-A4798520B094}"/>
              </a:ext>
            </a:extLst>
          </p:cNvPr>
          <p:cNvSpPr txBox="1"/>
          <p:nvPr/>
        </p:nvSpPr>
        <p:spPr>
          <a:xfrm>
            <a:off x="2756460" y="2922629"/>
            <a:ext cx="1543839" cy="784830"/>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2000" b="0" i="0" u="none" strike="noStrike" kern="1200" cap="none" spc="0" normalizeH="0" baseline="0" noProof="0">
                <a:solidFill>
                  <a:srgbClr val="262626"/>
                </a:solidFill>
                <a:highlight>
                  <a:srgbClr val="000000">
                    <a:alpha val="0"/>
                  </a:srgbClr>
                </a:highlight>
                <a:uLnTx/>
                <a:uFillTx/>
                <a:latin typeface="Simsun"/>
                <a:ea typeface="Simsun"/>
                <a:cs typeface="+mn-cs"/>
              </a:rPr>
              <a:t>初级</a:t>
            </a:r>
          </a:p>
          <a:p>
            <a:pPr marL="0" marR="0" lvl="0" indent="0" algn="ctr" defTabSz="914400" rtl="0" eaLnBrk="1" fontAlgn="auto" latinLnBrk="0" hangingPunct="1">
              <a:lnSpc>
                <a:spcPct val="100000"/>
              </a:lnSpc>
              <a:spcBef>
                <a:spcPts val="300"/>
              </a:spcBef>
              <a:spcAft>
                <a:spcPts val="300"/>
              </a:spcAft>
              <a:buClrTx/>
              <a:buSzTx/>
              <a:buFontTx/>
              <a:buNone/>
              <a:defRPr/>
            </a:pPr>
            <a:r>
              <a:rPr lang="zh-Hans" sz="2000" b="0" i="0" u="none" strike="noStrike">
                <a:solidFill>
                  <a:srgbClr val="262626"/>
                </a:solidFill>
                <a:highlight>
                  <a:srgbClr val="000000">
                    <a:alpha val="0"/>
                  </a:srgbClr>
                </a:highlight>
                <a:latin typeface="Simsun"/>
                <a:ea typeface="Simsun"/>
              </a:rPr>
              <a:t>初级卫生保健</a:t>
            </a:r>
          </a:p>
        </p:txBody>
      </p:sp>
      <p:sp>
        <p:nvSpPr>
          <p:cNvPr id="9" name="TextBox 8">
            <a:extLst>
              <a:ext uri="{FF2B5EF4-FFF2-40B4-BE49-F238E27FC236}">
                <a16:creationId xmlns:a16="http://schemas.microsoft.com/office/drawing/2014/main" id="{A4065693-F18F-45C7-83C0-D2E55D73F810}"/>
              </a:ext>
            </a:extLst>
          </p:cNvPr>
          <p:cNvSpPr txBox="1"/>
          <p:nvPr/>
        </p:nvSpPr>
        <p:spPr>
          <a:xfrm>
            <a:off x="3516065" y="3700699"/>
            <a:ext cx="1543839" cy="707886"/>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2000" b="0" i="0" u="none" strike="noStrike" kern="1200" cap="none" spc="0" normalizeH="0" baseline="0" noProof="0">
                <a:solidFill>
                  <a:srgbClr val="262626"/>
                </a:solidFill>
                <a:highlight>
                  <a:srgbClr val="000000">
                    <a:alpha val="0"/>
                  </a:srgbClr>
                </a:highlight>
                <a:uLnTx/>
                <a:uFillTx/>
                <a:latin typeface="Simsun"/>
                <a:ea typeface="Simsun"/>
                <a:cs typeface="+mn-cs"/>
              </a:rPr>
              <a:t>公共卫生安全</a:t>
            </a:r>
          </a:p>
        </p:txBody>
      </p:sp>
      <p:sp>
        <p:nvSpPr>
          <p:cNvPr id="10" name="TextBox 9">
            <a:extLst>
              <a:ext uri="{FF2B5EF4-FFF2-40B4-BE49-F238E27FC236}">
                <a16:creationId xmlns:a16="http://schemas.microsoft.com/office/drawing/2014/main" id="{5D9BDAA2-6562-4920-9003-1B1B9CE5EFE0}"/>
              </a:ext>
            </a:extLst>
          </p:cNvPr>
          <p:cNvSpPr txBox="1"/>
          <p:nvPr/>
        </p:nvSpPr>
        <p:spPr>
          <a:xfrm>
            <a:off x="1775885" y="3706356"/>
            <a:ext cx="1543839" cy="707886"/>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lang="zh-CN" altLang="en-US" sz="2000" dirty="0">
                <a:solidFill>
                  <a:srgbClr val="262626"/>
                </a:solidFill>
                <a:highlight>
                  <a:srgbClr val="000000">
                    <a:alpha val="0"/>
                  </a:srgbClr>
                </a:highlight>
                <a:latin typeface="Simsun"/>
                <a:ea typeface="Simsun"/>
              </a:rPr>
              <a:t>卫生</a:t>
            </a:r>
            <a:r>
              <a:rPr kumimoji="0" lang="zh-Hans" sz="2000" b="0" i="0" u="none" strike="noStrike" kern="1200" cap="none" spc="0" normalizeH="0" baseline="0" noProof="0" dirty="0">
                <a:solidFill>
                  <a:srgbClr val="262626"/>
                </a:solidFill>
                <a:highlight>
                  <a:srgbClr val="000000">
                    <a:alpha val="0"/>
                  </a:srgbClr>
                </a:highlight>
                <a:uLnTx/>
                <a:uFillTx/>
                <a:latin typeface="Simsun"/>
                <a:ea typeface="Simsun"/>
                <a:cs typeface="+mn-cs"/>
              </a:rPr>
              <a:t>促进</a:t>
            </a:r>
            <a:endParaRPr kumimoji="0" lang="en-US" sz="2000" i="0" u="none" strike="noStrike" kern="1200" cap="none" spc="0" normalizeH="0" baseline="0" noProof="0" dirty="0">
              <a:ln>
                <a:noFill/>
              </a:ln>
              <a:solidFill>
                <a:schemeClr val="tx1">
                  <a:lumMod val="85000"/>
                  <a:lumOff val="15000"/>
                </a:schemeClr>
              </a:solidFill>
              <a:effectLst/>
              <a:uLnTx/>
              <a:uFillTx/>
              <a:latin typeface="Abadi" panose="020B0604020104020204" pitchFamily="34" charset="0"/>
              <a:ea typeface="+mn-ea"/>
              <a:cs typeface="+mn-cs"/>
            </a:endParaRPr>
          </a:p>
        </p:txBody>
      </p:sp>
      <p:sp>
        <p:nvSpPr>
          <p:cNvPr id="17" name="2. Slide Title">
            <a:extLst>
              <a:ext uri="{FF2B5EF4-FFF2-40B4-BE49-F238E27FC236}">
                <a16:creationId xmlns:a16="http://schemas.microsoft.com/office/drawing/2014/main" id="{16E31A0A-5177-4CC3-A185-FC60A3C73E92}"/>
              </a:ext>
            </a:extLst>
          </p:cNvPr>
          <p:cNvSpPr>
            <a:spLocks noGrp="1"/>
          </p:cNvSpPr>
          <p:nvPr>
            <p:ph type="title"/>
            <p:custDataLst>
              <p:tags r:id="rId1"/>
            </p:custDataLst>
          </p:nvPr>
        </p:nvSpPr>
        <p:spPr>
          <a:xfrm>
            <a:off x="554736" y="172212"/>
            <a:ext cx="6591788" cy="769441"/>
          </a:xfrm>
          <a:noFill/>
          <a:extLst>
            <a:ext uri="{909E8E84-426E-40DD-AFC4-6F175D3DCCD1}">
              <a14:hiddenFill xmlns:a14="http://schemas.microsoft.com/office/drawing/2010/main">
                <a:solidFill>
                  <a:srgbClr val="FFFFFF"/>
                </a:solidFill>
              </a14:hiddenFill>
            </a:ext>
          </a:extLst>
        </p:spPr>
        <p:txBody>
          <a:bodyPr vert="horz" wrap="square" anchor="t" anchorCtr="0">
            <a:noAutofit/>
          </a:bodyPr>
          <a:lstStyle/>
          <a:p>
            <a:pPr rtl="0"/>
            <a:r>
              <a:rPr lang="zh-Hans" sz="3200" b="0" i="0" u="none" strike="noStrike">
                <a:highlight>
                  <a:srgbClr val="000000">
                    <a:alpha val="0"/>
                  </a:srgbClr>
                </a:highlight>
                <a:latin typeface="Simsun"/>
                <a:ea typeface="Simsun"/>
              </a:rPr>
              <a:t>卫生突发事件准备和应对是以重视初级卫生保健的原则为基础的...</a:t>
            </a:r>
          </a:p>
        </p:txBody>
      </p:sp>
      <p:sp>
        <p:nvSpPr>
          <p:cNvPr id="18" name="TextBox 17">
            <a:extLst>
              <a:ext uri="{FF2B5EF4-FFF2-40B4-BE49-F238E27FC236}">
                <a16:creationId xmlns:a16="http://schemas.microsoft.com/office/drawing/2014/main" id="{7C7C15A7-7B0F-4A53-A128-F8876D202D65}"/>
              </a:ext>
            </a:extLst>
          </p:cNvPr>
          <p:cNvSpPr txBox="1"/>
          <p:nvPr/>
        </p:nvSpPr>
        <p:spPr>
          <a:xfrm>
            <a:off x="7817569" y="1301494"/>
            <a:ext cx="3578286" cy="425501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8600">
              <a:lnSpc>
                <a:spcPct val="100000"/>
              </a:lnSpc>
              <a:spcBef>
                <a:spcPct val="0"/>
              </a:spcBef>
              <a:spcAft>
                <a:spcPts val="300"/>
              </a:spcAft>
              <a:buClr>
                <a:schemeClr val="tx1"/>
              </a:buClr>
              <a:buSzPct val="110000"/>
              <a:buFont typeface="Wingdings" panose="05000000000000000000" pitchFamily="2" charset="2"/>
              <a:buChar char=""/>
              <a:defRPr lang="en-US" sz="1600"/>
            </a:lvl2pPr>
            <a:lvl3pPr marL="438912" lvl="2" indent="-210312">
              <a:lnSpc>
                <a:spcPct val="100000"/>
              </a:lnSpc>
              <a:spcBef>
                <a:spcPct val="0"/>
              </a:spcBef>
              <a:spcAft>
                <a:spcPts val="300"/>
              </a:spcAft>
              <a:buClr>
                <a:schemeClr val="tx1"/>
              </a:buClr>
              <a:buSzPct val="110000"/>
              <a:buFont typeface="Arial" panose="020B0604020202020204" pitchFamily="34" charset="0"/>
              <a:buChar char="‒"/>
              <a:defRPr lang="en-US" sz="1600"/>
            </a:lvl3pPr>
            <a:lvl4pPr marL="594360" lvl="3" indent="-155448">
              <a:lnSpc>
                <a:spcPct val="100000"/>
              </a:lnSpc>
              <a:spcBef>
                <a:spcPct val="0"/>
              </a:spcBef>
              <a:spcAft>
                <a:spcPts val="300"/>
              </a:spcAft>
              <a:buClr>
                <a:schemeClr val="tx1"/>
              </a:buClr>
              <a:buSzTx/>
              <a:buFont typeface="Arial" panose="020B0604020202020204" pitchFamily="34" charset="0"/>
              <a:buChar char="•"/>
              <a:defRPr lang="en-US" sz="1600"/>
            </a:lvl4pPr>
            <a:lvl5pPr marL="813816" lvl="4" indent="-146304">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342900" indent="-342900" rtl="0">
              <a:spcBef>
                <a:spcPts val="1800"/>
              </a:spcBef>
              <a:buClr>
                <a:schemeClr val="bg1"/>
              </a:buClr>
              <a:buFont typeface="Wingdings" panose="05000000000000000000" pitchFamily="2" charset="2"/>
              <a:buChar char="§"/>
              <a:defRPr/>
            </a:pPr>
            <a:r>
              <a:rPr kumimoji="0" lang="zh-Hans" sz="2800" b="0" i="0" u="none" strike="noStrike" kern="1200" cap="none" spc="0" normalizeH="0" baseline="0" noProof="0" dirty="0">
                <a:solidFill>
                  <a:srgbClr val="FFFFFF"/>
                </a:solidFill>
                <a:highlight>
                  <a:srgbClr val="000000">
                    <a:alpha val="0"/>
                  </a:srgbClr>
                </a:highlight>
                <a:uLnTx/>
                <a:uFillTx/>
                <a:latin typeface="Simsun"/>
                <a:ea typeface="Simsun"/>
                <a:cs typeface="Arial"/>
              </a:rPr>
              <a:t>得到赋能的民众和社区</a:t>
            </a:r>
          </a:p>
          <a:p>
            <a:pPr marL="342900" indent="-342900" rtl="0">
              <a:spcBef>
                <a:spcPts val="1800"/>
              </a:spcBef>
              <a:buClr>
                <a:schemeClr val="bg1"/>
              </a:buClr>
              <a:buFont typeface="Wingdings" panose="05000000000000000000" pitchFamily="2" charset="2"/>
              <a:buChar char="§"/>
              <a:defRPr/>
            </a:pPr>
            <a:r>
              <a:rPr kumimoji="0" lang="zh-Hans" sz="2800" b="0" i="0" u="none" strike="noStrike" kern="1200" cap="none" spc="0" normalizeH="0" baseline="0" noProof="0" dirty="0">
                <a:solidFill>
                  <a:srgbClr val="FFFFFF"/>
                </a:solidFill>
                <a:highlight>
                  <a:srgbClr val="000000">
                    <a:alpha val="0"/>
                  </a:srgbClr>
                </a:highlight>
                <a:uLnTx/>
                <a:uFillTx/>
                <a:latin typeface="Simsun"/>
                <a:ea typeface="Simsun"/>
                <a:cs typeface="Arial"/>
              </a:rPr>
              <a:t>提供综合卫生服务</a:t>
            </a:r>
          </a:p>
          <a:p>
            <a:pPr marL="342900" indent="-342900" rtl="0">
              <a:spcBef>
                <a:spcPts val="1800"/>
              </a:spcBef>
              <a:buClr>
                <a:schemeClr val="bg1"/>
              </a:buClr>
              <a:buFont typeface="Wingdings" panose="05000000000000000000" pitchFamily="2" charset="2"/>
              <a:buChar char="§"/>
              <a:defRPr/>
            </a:pPr>
            <a:r>
              <a:rPr kumimoji="0" lang="zh-Hans" sz="2800" b="0" i="0" u="none" strike="noStrike" kern="1200" cap="none" spc="0" normalizeH="0" baseline="0" noProof="0" dirty="0">
                <a:solidFill>
                  <a:srgbClr val="FFFFFF"/>
                </a:solidFill>
                <a:highlight>
                  <a:srgbClr val="000000">
                    <a:alpha val="0"/>
                  </a:srgbClr>
                </a:highlight>
                <a:uLnTx/>
                <a:uFillTx/>
                <a:latin typeface="Simsun"/>
                <a:ea typeface="Simsun"/>
                <a:cs typeface="Arial"/>
              </a:rPr>
              <a:t>基本公共卫生职能</a:t>
            </a:r>
          </a:p>
          <a:p>
            <a:pPr marL="342900" indent="-342900" rtl="0">
              <a:spcBef>
                <a:spcPts val="1800"/>
              </a:spcBef>
              <a:buClr>
                <a:schemeClr val="bg1"/>
              </a:buClr>
              <a:buFont typeface="Wingdings" panose="05000000000000000000" pitchFamily="2" charset="2"/>
              <a:buChar char="§"/>
              <a:defRPr/>
            </a:pPr>
            <a:r>
              <a:rPr kumimoji="0" lang="zh-Hans" sz="2800" b="0" i="0" u="none" strike="noStrike" kern="1200" cap="none" spc="0" normalizeH="0" baseline="0" noProof="0" dirty="0">
                <a:solidFill>
                  <a:srgbClr val="FFFFFF"/>
                </a:solidFill>
                <a:highlight>
                  <a:srgbClr val="000000">
                    <a:alpha val="0"/>
                  </a:srgbClr>
                </a:highlight>
                <a:uLnTx/>
                <a:uFillTx/>
                <a:latin typeface="Simsun"/>
                <a:ea typeface="Simsun"/>
                <a:cs typeface="Arial"/>
              </a:rPr>
              <a:t>多部门政策和行动</a:t>
            </a:r>
            <a:endParaRPr kumimoji="0" lang="en-US" sz="2400" b="0" i="0" u="none" strike="noStrike" kern="1200" cap="none" spc="0" normalizeH="0" baseline="0" noProof="0" dirty="0">
              <a:ln>
                <a:noFill/>
              </a:ln>
              <a:solidFill>
                <a:schemeClr val="bg1"/>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DDD54471-2825-4BC3-9C90-5724E4ABE52C}"/>
              </a:ext>
            </a:extLst>
          </p:cNvPr>
          <p:cNvSpPr txBox="1"/>
          <p:nvPr/>
        </p:nvSpPr>
        <p:spPr>
          <a:xfrm>
            <a:off x="2050555" y="4137443"/>
            <a:ext cx="3048224" cy="1458225"/>
          </a:xfrm>
          <a:prstGeom prst="rect">
            <a:avLst/>
          </a:prstGeom>
          <a:noFill/>
          <a:ln w="6350">
            <a:noFill/>
            <a:miter lim="800000"/>
          </a:ln>
        </p:spPr>
        <p:txBody>
          <a:bodyPr wrap="square">
            <a:prstTxWarp prst="textArchDown">
              <a:avLst/>
            </a:prstTxWarp>
            <a:noAutofit/>
          </a:bodyPr>
          <a:lstStyle/>
          <a:p>
            <a:pPr algn="ctr" rtl="0"/>
            <a:r>
              <a:rPr lang="zh-Hans" sz="2000" b="0" i="0" u="none" strike="noStrike">
                <a:solidFill>
                  <a:srgbClr val="FFFFFF"/>
                </a:solidFill>
                <a:highlight>
                  <a:srgbClr val="000000">
                    <a:alpha val="0"/>
                  </a:srgbClr>
                </a:highlight>
                <a:latin typeface="Simsun"/>
                <a:ea typeface="Simsun"/>
              </a:rPr>
              <a:t>同一个健康</a:t>
            </a:r>
            <a:endParaRPr lang="en-US" sz="2000"/>
          </a:p>
        </p:txBody>
      </p:sp>
    </p:spTree>
    <p:extLst>
      <p:ext uri="{BB962C8B-B14F-4D97-AF65-F5344CB8AC3E}">
        <p14:creationId xmlns:p14="http://schemas.microsoft.com/office/powerpoint/2010/main" val="700629036"/>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DBFCC3-D204-44A1-98FA-F2D9025A08C6}"/>
              </a:ext>
            </a:extLst>
          </p:cNvPr>
          <p:cNvSpPr>
            <a:spLocks noGrp="1"/>
          </p:cNvSpPr>
          <p:nvPr>
            <p:ph type="title"/>
          </p:nvPr>
        </p:nvSpPr>
        <p:spPr>
          <a:xfrm>
            <a:off x="554737" y="573582"/>
            <a:ext cx="4341927" cy="731520"/>
          </a:xfrm>
        </p:spPr>
        <p:txBody>
          <a:bodyPr vert="horz">
            <a:noAutofit/>
          </a:bodyPr>
          <a:lstStyle/>
          <a:p>
            <a:pPr rtl="0"/>
            <a:r>
              <a:rPr lang="zh-Hans" sz="3200" b="0" i="0" u="none" strike="noStrike" dirty="0">
                <a:highlight>
                  <a:srgbClr val="000000">
                    <a:alpha val="0"/>
                  </a:srgbClr>
                </a:highlight>
                <a:latin typeface="Simsun"/>
                <a:ea typeface="Simsun"/>
              </a:rPr>
              <a:t>卫生突发事件开始于和</a:t>
            </a:r>
            <a:r>
              <a:rPr lang="zh-CN" altLang="en-US" dirty="0">
                <a:highlight>
                  <a:srgbClr val="000000">
                    <a:alpha val="0"/>
                  </a:srgbClr>
                </a:highlight>
                <a:latin typeface="Simsun"/>
                <a:ea typeface="Simsun"/>
              </a:rPr>
              <a:t>结束</a:t>
            </a:r>
            <a:r>
              <a:rPr lang="zh-Hans" sz="3200" b="0" i="0" u="none" strike="noStrike" dirty="0">
                <a:highlight>
                  <a:srgbClr val="000000">
                    <a:alpha val="0"/>
                  </a:srgbClr>
                </a:highlight>
                <a:latin typeface="Simsun"/>
                <a:ea typeface="Simsun"/>
              </a:rPr>
              <a:t>于社区 ...</a:t>
            </a:r>
          </a:p>
        </p:txBody>
      </p:sp>
      <p:grpSp>
        <p:nvGrpSpPr>
          <p:cNvPr id="9" name="Group 8">
            <a:extLst>
              <a:ext uri="{FF2B5EF4-FFF2-40B4-BE49-F238E27FC236}">
                <a16:creationId xmlns:a16="http://schemas.microsoft.com/office/drawing/2014/main" id="{E7C0947F-A88A-4CF2-AE12-99E622E6A928}"/>
              </a:ext>
            </a:extLst>
          </p:cNvPr>
          <p:cNvGrpSpPr/>
          <p:nvPr/>
        </p:nvGrpSpPr>
        <p:grpSpPr>
          <a:xfrm>
            <a:off x="6244079" y="1730775"/>
            <a:ext cx="0" cy="4187085"/>
            <a:chOff x="6244077" y="1615364"/>
            <a:chExt cx="0" cy="4187085"/>
          </a:xfrm>
        </p:grpSpPr>
        <p:cxnSp>
          <p:nvCxnSpPr>
            <p:cNvPr id="11" name="Straight Connector 10">
              <a:extLst>
                <a:ext uri="{FF2B5EF4-FFF2-40B4-BE49-F238E27FC236}">
                  <a16:creationId xmlns:a16="http://schemas.microsoft.com/office/drawing/2014/main" id="{82AEF10A-52C3-4536-9122-35B846B4FD17}"/>
                </a:ext>
              </a:extLst>
            </p:cNvPr>
            <p:cNvCxnSpPr/>
            <p:nvPr/>
          </p:nvCxnSpPr>
          <p:spPr>
            <a:xfrm flipH="1">
              <a:off x="6244077" y="1615364"/>
              <a:ext cx="0" cy="172096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CC861F0-69A6-4738-969D-55744E2F26C9}"/>
                </a:ext>
              </a:extLst>
            </p:cNvPr>
            <p:cNvCxnSpPr/>
            <p:nvPr/>
          </p:nvCxnSpPr>
          <p:spPr>
            <a:xfrm flipH="1">
              <a:off x="6244077" y="4065373"/>
              <a:ext cx="0" cy="1737076"/>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Title 1">
            <a:extLst>
              <a:ext uri="{FF2B5EF4-FFF2-40B4-BE49-F238E27FC236}">
                <a16:creationId xmlns:a16="http://schemas.microsoft.com/office/drawing/2014/main" id="{DB81EAA4-E3DD-424D-8561-868412DF1E46}"/>
              </a:ext>
            </a:extLst>
          </p:cNvPr>
          <p:cNvSpPr txBox="1"/>
          <p:nvPr/>
        </p:nvSpPr>
        <p:spPr>
          <a:xfrm>
            <a:off x="6671757" y="535661"/>
            <a:ext cx="4963031" cy="769441"/>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zh-Hans" sz="2500" b="0" i="0" u="none" strike="noStrike" kern="1200" cap="none" spc="0" normalizeH="0" baseline="0" noProof="0" dirty="0">
                <a:solidFill>
                  <a:srgbClr val="002060"/>
                </a:solidFill>
                <a:highlight>
                  <a:srgbClr val="000000">
                    <a:alpha val="0"/>
                  </a:srgbClr>
                </a:highlight>
                <a:uLnTx/>
                <a:uFillTx/>
                <a:latin typeface="Simsun"/>
                <a:ea typeface="Simsun"/>
                <a:cs typeface="+mj-cs"/>
                <a:sym typeface="+mj-lt"/>
              </a:rPr>
              <a:t>......并需要采取系统性的方法来实现卫生</a:t>
            </a:r>
            <a:r>
              <a:rPr lang="zh-CN" altLang="en-US" sz="2500" dirty="0">
                <a:solidFill>
                  <a:srgbClr val="002060"/>
                </a:solidFill>
                <a:highlight>
                  <a:srgbClr val="000000">
                    <a:alpha val="0"/>
                  </a:srgbClr>
                </a:highlight>
                <a:latin typeface="Simsun"/>
                <a:ea typeface="Simsun"/>
              </a:rPr>
              <a:t>保障</a:t>
            </a:r>
            <a:endParaRPr kumimoji="0" lang="zh-Hans" sz="2500" b="0" i="0" u="none" strike="noStrike" kern="1200" cap="none" spc="0" normalizeH="0" baseline="0" noProof="0" dirty="0">
              <a:solidFill>
                <a:srgbClr val="002060"/>
              </a:solidFill>
              <a:highlight>
                <a:srgbClr val="000000">
                  <a:alpha val="0"/>
                </a:srgbClr>
              </a:highlight>
              <a:uLnTx/>
              <a:uFillTx/>
              <a:latin typeface="Simsun"/>
              <a:ea typeface="Simsun"/>
              <a:cs typeface="+mj-cs"/>
              <a:sym typeface="+mj-lt"/>
            </a:endParaRPr>
          </a:p>
        </p:txBody>
      </p:sp>
      <p:sp>
        <p:nvSpPr>
          <p:cNvPr id="41" name="Partial Circle 40">
            <a:extLst>
              <a:ext uri="{FF2B5EF4-FFF2-40B4-BE49-F238E27FC236}">
                <a16:creationId xmlns:a16="http://schemas.microsoft.com/office/drawing/2014/main" id="{AF22A45E-E125-469D-82AD-1C8D703F8E03}"/>
              </a:ext>
            </a:extLst>
          </p:cNvPr>
          <p:cNvSpPr/>
          <p:nvPr/>
        </p:nvSpPr>
        <p:spPr>
          <a:xfrm>
            <a:off x="967401" y="1598044"/>
            <a:ext cx="4680000" cy="4680000"/>
          </a:xfrm>
          <a:prstGeom prst="pie">
            <a:avLst>
              <a:gd name="adj1" fmla="val 16201070"/>
              <a:gd name="adj2" fmla="val 5394682"/>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2" name="Partial Circle 41">
            <a:extLst>
              <a:ext uri="{FF2B5EF4-FFF2-40B4-BE49-F238E27FC236}">
                <a16:creationId xmlns:a16="http://schemas.microsoft.com/office/drawing/2014/main" id="{B48C7D31-CA69-4153-8E46-9EA4502D37B6}"/>
              </a:ext>
            </a:extLst>
          </p:cNvPr>
          <p:cNvSpPr/>
          <p:nvPr/>
        </p:nvSpPr>
        <p:spPr>
          <a:xfrm>
            <a:off x="1597401" y="2228044"/>
            <a:ext cx="3420000" cy="3420000"/>
          </a:xfrm>
          <a:prstGeom prst="pie">
            <a:avLst>
              <a:gd name="adj1" fmla="val 16215626"/>
              <a:gd name="adj2" fmla="val 5393857"/>
            </a:avLst>
          </a:prstGeom>
          <a:solidFill>
            <a:srgbClr val="037BB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Partial Circle 42">
            <a:extLst>
              <a:ext uri="{FF2B5EF4-FFF2-40B4-BE49-F238E27FC236}">
                <a16:creationId xmlns:a16="http://schemas.microsoft.com/office/drawing/2014/main" id="{D655D5CA-8718-4E37-82CF-9B6C41DD63F6}"/>
              </a:ext>
            </a:extLst>
          </p:cNvPr>
          <p:cNvSpPr/>
          <p:nvPr/>
        </p:nvSpPr>
        <p:spPr>
          <a:xfrm>
            <a:off x="2138559" y="2858044"/>
            <a:ext cx="2328416" cy="2254478"/>
          </a:xfrm>
          <a:prstGeom prst="pie">
            <a:avLst>
              <a:gd name="adj1" fmla="val 16199418"/>
              <a:gd name="adj2" fmla="val 5400000"/>
            </a:avLst>
          </a:prstGeom>
          <a:solidFill>
            <a:srgbClr val="04A4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Rectangle 8">
            <a:extLst>
              <a:ext uri="{FF2B5EF4-FFF2-40B4-BE49-F238E27FC236}">
                <a16:creationId xmlns:a16="http://schemas.microsoft.com/office/drawing/2014/main" id="{D655BBA0-2147-4F27-8701-30F085827B9B}"/>
              </a:ext>
            </a:extLst>
          </p:cNvPr>
          <p:cNvSpPr>
            <a:spLocks noChangeArrowheads="1"/>
          </p:cNvSpPr>
          <p:nvPr>
            <p:custDataLst>
              <p:tags r:id="rId2"/>
            </p:custDataLst>
          </p:nvPr>
        </p:nvSpPr>
        <p:spPr bwMode="gray">
          <a:xfrm rot="5400000">
            <a:off x="4197442" y="3528797"/>
            <a:ext cx="1446166" cy="818494"/>
          </a:xfrm>
          <a:prstGeom prst="rect">
            <a:avLst/>
          </a:prstGeom>
        </p:spPr>
        <p:txBody>
          <a:bodyPr wrap="none" lIns="0" tIns="0" rIns="0" bIns="0" anchor="ctr">
            <a:prstTxWarp prst="textArchUp">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n-cs"/>
                <a:sym typeface="Trebuchet MS"/>
              </a:rPr>
              <a:t>全球性</a:t>
            </a:r>
          </a:p>
        </p:txBody>
      </p:sp>
      <p:sp>
        <p:nvSpPr>
          <p:cNvPr id="46" name="Rectangle 8">
            <a:extLst>
              <a:ext uri="{FF2B5EF4-FFF2-40B4-BE49-F238E27FC236}">
                <a16:creationId xmlns:a16="http://schemas.microsoft.com/office/drawing/2014/main" id="{BA69D851-8DB8-45D5-AC7C-2DA2AE31374F}"/>
              </a:ext>
            </a:extLst>
          </p:cNvPr>
          <p:cNvSpPr>
            <a:spLocks noChangeArrowheads="1"/>
          </p:cNvSpPr>
          <p:nvPr>
            <p:custDataLst>
              <p:tags r:id="rId3"/>
            </p:custDataLst>
          </p:nvPr>
        </p:nvSpPr>
        <p:spPr bwMode="gray">
          <a:xfrm rot="5400000">
            <a:off x="3606563" y="3528797"/>
            <a:ext cx="1446166" cy="818494"/>
          </a:xfrm>
          <a:prstGeom prst="rect">
            <a:avLst/>
          </a:prstGeom>
        </p:spPr>
        <p:txBody>
          <a:bodyPr wrap="none" lIns="0" tIns="0" rIns="0" bIns="0" anchor="ctr">
            <a:prstTxWarp prst="textArchUp">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n-cs"/>
                <a:sym typeface="Trebuchet MS"/>
              </a:rPr>
              <a:t>区域性</a:t>
            </a:r>
          </a:p>
        </p:txBody>
      </p:sp>
      <p:sp>
        <p:nvSpPr>
          <p:cNvPr id="52" name="Rectangle 8">
            <a:extLst>
              <a:ext uri="{FF2B5EF4-FFF2-40B4-BE49-F238E27FC236}">
                <a16:creationId xmlns:a16="http://schemas.microsoft.com/office/drawing/2014/main" id="{2115232C-E97E-414E-A997-6975EFAC08E6}"/>
              </a:ext>
            </a:extLst>
          </p:cNvPr>
          <p:cNvSpPr>
            <a:spLocks noChangeArrowheads="1"/>
          </p:cNvSpPr>
          <p:nvPr>
            <p:custDataLst>
              <p:tags r:id="rId4"/>
            </p:custDataLst>
          </p:nvPr>
        </p:nvSpPr>
        <p:spPr bwMode="gray">
          <a:xfrm rot="5400000">
            <a:off x="3032383" y="3528798"/>
            <a:ext cx="1446166" cy="818494"/>
          </a:xfrm>
          <a:prstGeom prst="rect">
            <a:avLst/>
          </a:prstGeom>
        </p:spPr>
        <p:txBody>
          <a:bodyPr wrap="none" lIns="0" tIns="0" rIns="0" bIns="0" anchor="ctr">
            <a:prstTxWarp prst="textArchUp">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n-cs"/>
                <a:sym typeface="Trebuchet MS"/>
              </a:rPr>
              <a:t>国家性</a:t>
            </a:r>
          </a:p>
        </p:txBody>
      </p:sp>
      <p:sp>
        <p:nvSpPr>
          <p:cNvPr id="54" name="TextBox 53">
            <a:extLst>
              <a:ext uri="{FF2B5EF4-FFF2-40B4-BE49-F238E27FC236}">
                <a16:creationId xmlns:a16="http://schemas.microsoft.com/office/drawing/2014/main" id="{3779C0AC-6DEE-4B0E-B604-0C3E20B34665}"/>
              </a:ext>
            </a:extLst>
          </p:cNvPr>
          <p:cNvSpPr txBox="1"/>
          <p:nvPr/>
        </p:nvSpPr>
        <p:spPr>
          <a:xfrm>
            <a:off x="2164250" y="2391652"/>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400" b="0" i="0" u="none" strike="noStrike" kern="1200" cap="none" spc="0" normalizeH="0" baseline="0" noProof="0">
                <a:solidFill>
                  <a:srgbClr val="037BB1"/>
                </a:solidFill>
                <a:highlight>
                  <a:srgbClr val="000000">
                    <a:alpha val="0"/>
                  </a:srgbClr>
                </a:highlight>
                <a:uLnTx/>
                <a:uFillTx/>
                <a:latin typeface="Simsun"/>
                <a:ea typeface="Simsun"/>
                <a:cs typeface="+mn-cs"/>
              </a:rPr>
              <a:t>流行病</a:t>
            </a:r>
          </a:p>
        </p:txBody>
      </p:sp>
      <p:sp>
        <p:nvSpPr>
          <p:cNvPr id="55" name="TextBox 54">
            <a:extLst>
              <a:ext uri="{FF2B5EF4-FFF2-40B4-BE49-F238E27FC236}">
                <a16:creationId xmlns:a16="http://schemas.microsoft.com/office/drawing/2014/main" id="{2CEBB34E-156D-4F2D-8360-0C94E12DD1FF}"/>
              </a:ext>
            </a:extLst>
          </p:cNvPr>
          <p:cNvSpPr txBox="1"/>
          <p:nvPr/>
        </p:nvSpPr>
        <p:spPr>
          <a:xfrm>
            <a:off x="2164250" y="2933417"/>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400" b="0" i="0" u="none" strike="noStrike" kern="1200" cap="none" spc="0" normalizeH="0" baseline="0" noProof="0">
                <a:solidFill>
                  <a:srgbClr val="04A4EC"/>
                </a:solidFill>
                <a:highlight>
                  <a:srgbClr val="000000">
                    <a:alpha val="0"/>
                  </a:srgbClr>
                </a:highlight>
                <a:uLnTx/>
                <a:uFillTx/>
                <a:latin typeface="Simsun"/>
                <a:ea typeface="Simsun"/>
                <a:cs typeface="+mn-cs"/>
              </a:rPr>
              <a:t>爆发</a:t>
            </a:r>
          </a:p>
        </p:txBody>
      </p:sp>
      <p:sp>
        <p:nvSpPr>
          <p:cNvPr id="56" name="TextBox 55">
            <a:extLst>
              <a:ext uri="{FF2B5EF4-FFF2-40B4-BE49-F238E27FC236}">
                <a16:creationId xmlns:a16="http://schemas.microsoft.com/office/drawing/2014/main" id="{330A8902-394D-44F9-9479-584B53CC47A2}"/>
              </a:ext>
            </a:extLst>
          </p:cNvPr>
          <p:cNvSpPr txBox="1"/>
          <p:nvPr/>
        </p:nvSpPr>
        <p:spPr>
          <a:xfrm>
            <a:off x="2164250" y="1815526"/>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400" b="0" i="0" u="none" strike="noStrike" kern="1200" cap="none" spc="0" normalizeH="0" baseline="0" noProof="0">
                <a:solidFill>
                  <a:srgbClr val="002060"/>
                </a:solidFill>
                <a:highlight>
                  <a:srgbClr val="000000">
                    <a:alpha val="0"/>
                  </a:srgbClr>
                </a:highlight>
                <a:uLnTx/>
                <a:uFillTx/>
                <a:latin typeface="Simsun"/>
                <a:ea typeface="Simsun"/>
                <a:cs typeface="+mn-cs"/>
              </a:rPr>
              <a:t>大流行病</a:t>
            </a:r>
          </a:p>
        </p:txBody>
      </p:sp>
      <p:sp>
        <p:nvSpPr>
          <p:cNvPr id="57" name="Rectangle 56">
            <a:extLst>
              <a:ext uri="{FF2B5EF4-FFF2-40B4-BE49-F238E27FC236}">
                <a16:creationId xmlns:a16="http://schemas.microsoft.com/office/drawing/2014/main" id="{AC025E24-BC5C-419B-B1B7-91A5F16D25CD}"/>
              </a:ext>
            </a:extLst>
          </p:cNvPr>
          <p:cNvSpPr/>
          <p:nvPr/>
        </p:nvSpPr>
        <p:spPr>
          <a:xfrm>
            <a:off x="382276" y="3400704"/>
            <a:ext cx="1966917" cy="1077218"/>
          </a:xfrm>
          <a:prstGeom prst="rect">
            <a:avLst/>
          </a:prstGeom>
          <a:solidFill>
            <a:schemeClr val="bg1">
              <a:lumMod val="95000"/>
            </a:schemeClr>
          </a:solidFill>
          <a:ln w="19050">
            <a:solidFill>
              <a:srgbClr val="013A53"/>
            </a:solidFill>
            <a:prstDash val="sysDot"/>
          </a:ln>
          <a:effectLst>
            <a:outerShdw blurRad="50800" dist="38100" dir="2700000" algn="tl" rotWithShape="0">
              <a:prstClr val="black">
                <a:alpha val="40000"/>
              </a:prstClr>
            </a:outerShdw>
          </a:effectLst>
        </p:spPr>
        <p:txBody>
          <a:bodyPr wrap="square">
            <a:noAutofit/>
          </a:bodyPr>
          <a:lstStyle/>
          <a:p>
            <a:pPr marL="444500" marR="0" lvl="0" indent="0" algn="l" defTabSz="914400" rtl="0" eaLnBrk="1" fontAlgn="auto" latinLnBrk="0" hangingPunct="1">
              <a:lnSpc>
                <a:spcPct val="100000"/>
              </a:lnSpc>
              <a:spcBef>
                <a:spcPct val="0"/>
              </a:spcBef>
              <a:spcAft>
                <a:spcPct val="0"/>
              </a:spcAft>
              <a:buClrTx/>
              <a:buSzTx/>
              <a:buFontTx/>
              <a:buNone/>
              <a:defRPr/>
            </a:pPr>
            <a:endParaRPr kumimoji="0" lang="en-ZA" sz="1600" b="0" i="0" u="none" strike="noStrike" kern="0" cap="none" spc="0" normalizeH="0" baseline="0" noProof="0">
              <a:ln>
                <a:noFill/>
              </a:ln>
              <a:solidFill>
                <a:srgbClr val="000000"/>
              </a:solidFill>
              <a:effectLst/>
              <a:uLnTx/>
              <a:uFillTx/>
              <a:latin typeface="Calibri"/>
              <a:ea typeface="+mn-ea"/>
              <a:cs typeface="+mn-cs"/>
            </a:endParaRPr>
          </a:p>
          <a:p>
            <a:pPr marL="444500" marR="0" lvl="0" indent="0" algn="l" defTabSz="914400" rtl="0" eaLnBrk="1" fontAlgn="auto" latinLnBrk="0" hangingPunct="1">
              <a:lnSpc>
                <a:spcPct val="100000"/>
              </a:lnSpc>
              <a:spcBef>
                <a:spcPct val="0"/>
              </a:spcBef>
              <a:spcAft>
                <a:spcPct val="0"/>
              </a:spcAft>
              <a:buClrTx/>
              <a:buSzTx/>
              <a:buFontTx/>
              <a:buNone/>
              <a:defRPr/>
            </a:pPr>
            <a:r>
              <a:rPr kumimoji="0" lang="zh-Hans" sz="1600" b="0" i="0" u="none" strike="noStrike" kern="0" cap="none" spc="0" normalizeH="0" baseline="0" noProof="0">
                <a:solidFill>
                  <a:srgbClr val="000000"/>
                </a:solidFill>
                <a:highlight>
                  <a:srgbClr val="000000">
                    <a:alpha val="0"/>
                  </a:srgbClr>
                </a:highlight>
                <a:uLnTx/>
                <a:uFillTx/>
                <a:latin typeface="Simsun"/>
                <a:ea typeface="Simsun"/>
                <a:cs typeface="+mn-cs"/>
              </a:rPr>
              <a:t>“在每个人都安全之前，没有人是安全的”。</a:t>
            </a:r>
          </a:p>
          <a:p>
            <a:pPr marL="444500" marR="0" lvl="0" indent="0" algn="l" defTabSz="914400" rtl="0" eaLnBrk="1" fontAlgn="auto" latinLnBrk="0" hangingPunct="1">
              <a:lnSpc>
                <a:spcPct val="100000"/>
              </a:lnSpc>
              <a:spcBef>
                <a:spcPct val="0"/>
              </a:spcBef>
              <a:spcAft>
                <a:spcPct val="0"/>
              </a:spcAft>
              <a:buClrTx/>
              <a:buSzTx/>
              <a:buFontTx/>
              <a:buNone/>
              <a:defRPr/>
            </a:pPr>
            <a:endParaRPr kumimoji="0" lang="en-ZA" sz="16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nvGrpSpPr>
          <p:cNvPr id="58" name="bcgBugs_Alert">
            <a:extLst>
              <a:ext uri="{FF2B5EF4-FFF2-40B4-BE49-F238E27FC236}">
                <a16:creationId xmlns:a16="http://schemas.microsoft.com/office/drawing/2014/main" id="{21EC28D1-88AC-4FBE-A35C-2779F6213B28}"/>
              </a:ext>
            </a:extLst>
          </p:cNvPr>
          <p:cNvGrpSpPr>
            <a:grpSpLocks noChangeAspect="1"/>
          </p:cNvGrpSpPr>
          <p:nvPr/>
        </p:nvGrpSpPr>
        <p:grpSpPr>
          <a:xfrm>
            <a:off x="445569" y="3694373"/>
            <a:ext cx="456753" cy="457200"/>
            <a:chOff x="2818" y="1137"/>
            <a:chExt cx="2044" cy="2046"/>
          </a:xfrm>
        </p:grpSpPr>
        <p:sp>
          <p:nvSpPr>
            <p:cNvPr id="68" name="AutoShape 7">
              <a:extLst>
                <a:ext uri="{FF2B5EF4-FFF2-40B4-BE49-F238E27FC236}">
                  <a16:creationId xmlns:a16="http://schemas.microsoft.com/office/drawing/2014/main" id="{5C8D3B0C-43B5-4FFE-94EB-3185F9CB7F3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C00000"/>
                </a:solidFill>
                <a:effectLst/>
                <a:uLnTx/>
                <a:uFillTx/>
                <a:latin typeface="Calibri"/>
                <a:ea typeface="+mn-ea"/>
                <a:cs typeface="+mn-cs"/>
              </a:endParaRPr>
            </a:p>
          </p:txBody>
        </p:sp>
        <p:sp>
          <p:nvSpPr>
            <p:cNvPr id="69" name="Freeform 9">
              <a:extLst>
                <a:ext uri="{FF2B5EF4-FFF2-40B4-BE49-F238E27FC236}">
                  <a16:creationId xmlns:a16="http://schemas.microsoft.com/office/drawing/2014/main" id="{81464D9A-CBA5-44B3-A110-46BA62BC2547}"/>
                </a:ext>
              </a:extLst>
            </p:cNvPr>
            <p:cNvSpPr>
              <a:spLocks noEditPoints="1"/>
            </p:cNvSpPr>
            <p:nvPr/>
          </p:nvSpPr>
          <p:spPr bwMode="auto">
            <a:xfrm>
              <a:off x="2947" y="1395"/>
              <a:ext cx="1788" cy="1550"/>
            </a:xfrm>
            <a:custGeom>
              <a:avLst/>
              <a:gdLst>
                <a:gd name="T0" fmla="*/ 866 w 874"/>
                <a:gd name="T1" fmla="*/ 724 h 757"/>
                <a:gd name="T2" fmla="*/ 456 w 874"/>
                <a:gd name="T3" fmla="*/ 14 h 757"/>
                <a:gd name="T4" fmla="*/ 418 w 874"/>
                <a:gd name="T5" fmla="*/ 14 h 757"/>
                <a:gd name="T6" fmla="*/ 8 w 874"/>
                <a:gd name="T7" fmla="*/ 724 h 757"/>
                <a:gd name="T8" fmla="*/ 27 w 874"/>
                <a:gd name="T9" fmla="*/ 757 h 757"/>
                <a:gd name="T10" fmla="*/ 847 w 874"/>
                <a:gd name="T11" fmla="*/ 757 h 757"/>
                <a:gd name="T12" fmla="*/ 866 w 874"/>
                <a:gd name="T13" fmla="*/ 724 h 757"/>
                <a:gd name="T14" fmla="*/ 397 w 874"/>
                <a:gd name="T15" fmla="*/ 206 h 757"/>
                <a:gd name="T16" fmla="*/ 477 w 874"/>
                <a:gd name="T17" fmla="*/ 206 h 757"/>
                <a:gd name="T18" fmla="*/ 477 w 874"/>
                <a:gd name="T19" fmla="*/ 332 h 757"/>
                <a:gd name="T20" fmla="*/ 453 w 874"/>
                <a:gd name="T21" fmla="*/ 548 h 757"/>
                <a:gd name="T22" fmla="*/ 421 w 874"/>
                <a:gd name="T23" fmla="*/ 548 h 757"/>
                <a:gd name="T24" fmla="*/ 397 w 874"/>
                <a:gd name="T25" fmla="*/ 332 h 757"/>
                <a:gd name="T26" fmla="*/ 397 w 874"/>
                <a:gd name="T27" fmla="*/ 206 h 757"/>
                <a:gd name="T28" fmla="*/ 473 w 874"/>
                <a:gd name="T29" fmla="*/ 658 h 757"/>
                <a:gd name="T30" fmla="*/ 438 w 874"/>
                <a:gd name="T31" fmla="*/ 673 h 757"/>
                <a:gd name="T32" fmla="*/ 402 w 874"/>
                <a:gd name="T33" fmla="*/ 658 h 757"/>
                <a:gd name="T34" fmla="*/ 386 w 874"/>
                <a:gd name="T35" fmla="*/ 622 h 757"/>
                <a:gd name="T36" fmla="*/ 402 w 874"/>
                <a:gd name="T37" fmla="*/ 586 h 757"/>
                <a:gd name="T38" fmla="*/ 438 w 874"/>
                <a:gd name="T39" fmla="*/ 571 h 757"/>
                <a:gd name="T40" fmla="*/ 473 w 874"/>
                <a:gd name="T41" fmla="*/ 586 h 757"/>
                <a:gd name="T42" fmla="*/ 488 w 874"/>
                <a:gd name="T43" fmla="*/ 622 h 757"/>
                <a:gd name="T44" fmla="*/ 473 w 874"/>
                <a:gd name="T45" fmla="*/ 658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4" h="757">
                  <a:moveTo>
                    <a:pt x="866" y="724"/>
                  </a:moveTo>
                  <a:cubicBezTo>
                    <a:pt x="456" y="14"/>
                    <a:pt x="456" y="14"/>
                    <a:pt x="456" y="14"/>
                  </a:cubicBezTo>
                  <a:cubicBezTo>
                    <a:pt x="448" y="0"/>
                    <a:pt x="426" y="0"/>
                    <a:pt x="418" y="14"/>
                  </a:cubicBezTo>
                  <a:cubicBezTo>
                    <a:pt x="8" y="724"/>
                    <a:pt x="8" y="724"/>
                    <a:pt x="8" y="724"/>
                  </a:cubicBezTo>
                  <a:cubicBezTo>
                    <a:pt x="0" y="738"/>
                    <a:pt x="10" y="757"/>
                    <a:pt x="27" y="757"/>
                  </a:cubicBezTo>
                  <a:cubicBezTo>
                    <a:pt x="847" y="757"/>
                    <a:pt x="847" y="757"/>
                    <a:pt x="847" y="757"/>
                  </a:cubicBezTo>
                  <a:cubicBezTo>
                    <a:pt x="864" y="757"/>
                    <a:pt x="874" y="738"/>
                    <a:pt x="866" y="724"/>
                  </a:cubicBezTo>
                  <a:close/>
                  <a:moveTo>
                    <a:pt x="397" y="206"/>
                  </a:moveTo>
                  <a:cubicBezTo>
                    <a:pt x="477" y="206"/>
                    <a:pt x="477" y="206"/>
                    <a:pt x="477" y="206"/>
                  </a:cubicBezTo>
                  <a:cubicBezTo>
                    <a:pt x="477" y="332"/>
                    <a:pt x="477" y="332"/>
                    <a:pt x="477" y="332"/>
                  </a:cubicBezTo>
                  <a:cubicBezTo>
                    <a:pt x="477" y="373"/>
                    <a:pt x="470" y="446"/>
                    <a:pt x="453" y="548"/>
                  </a:cubicBezTo>
                  <a:cubicBezTo>
                    <a:pt x="421" y="548"/>
                    <a:pt x="421" y="548"/>
                    <a:pt x="421" y="548"/>
                  </a:cubicBezTo>
                  <a:cubicBezTo>
                    <a:pt x="405" y="446"/>
                    <a:pt x="397" y="373"/>
                    <a:pt x="397" y="332"/>
                  </a:cubicBezTo>
                  <a:lnTo>
                    <a:pt x="397" y="206"/>
                  </a:lnTo>
                  <a:close/>
                  <a:moveTo>
                    <a:pt x="473" y="658"/>
                  </a:moveTo>
                  <a:cubicBezTo>
                    <a:pt x="464" y="668"/>
                    <a:pt x="452" y="673"/>
                    <a:pt x="438" y="673"/>
                  </a:cubicBezTo>
                  <a:cubicBezTo>
                    <a:pt x="423" y="673"/>
                    <a:pt x="411" y="668"/>
                    <a:pt x="402" y="658"/>
                  </a:cubicBezTo>
                  <a:cubicBezTo>
                    <a:pt x="392" y="648"/>
                    <a:pt x="386" y="636"/>
                    <a:pt x="386" y="622"/>
                  </a:cubicBezTo>
                  <a:cubicBezTo>
                    <a:pt x="386" y="608"/>
                    <a:pt x="392" y="596"/>
                    <a:pt x="402" y="586"/>
                  </a:cubicBezTo>
                  <a:cubicBezTo>
                    <a:pt x="411" y="576"/>
                    <a:pt x="423" y="571"/>
                    <a:pt x="438" y="571"/>
                  </a:cubicBezTo>
                  <a:cubicBezTo>
                    <a:pt x="452" y="571"/>
                    <a:pt x="464" y="576"/>
                    <a:pt x="473" y="586"/>
                  </a:cubicBezTo>
                  <a:cubicBezTo>
                    <a:pt x="483" y="596"/>
                    <a:pt x="488" y="608"/>
                    <a:pt x="488" y="622"/>
                  </a:cubicBezTo>
                  <a:cubicBezTo>
                    <a:pt x="488" y="636"/>
                    <a:pt x="483" y="648"/>
                    <a:pt x="473" y="658"/>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C00000"/>
                </a:solidFill>
                <a:effectLst/>
                <a:uLnTx/>
                <a:uFillTx/>
                <a:latin typeface="Calibri" panose="020F0502020204030204"/>
                <a:ea typeface="+mn-ea"/>
                <a:cs typeface="+mn-cs"/>
              </a:endParaRPr>
            </a:p>
          </p:txBody>
        </p:sp>
      </p:grpSp>
      <p:sp>
        <p:nvSpPr>
          <p:cNvPr id="60" name="Partial Circle 59">
            <a:extLst>
              <a:ext uri="{FF2B5EF4-FFF2-40B4-BE49-F238E27FC236}">
                <a16:creationId xmlns:a16="http://schemas.microsoft.com/office/drawing/2014/main" id="{7658FFFB-678A-40FB-8BC1-F4831CC86686}"/>
              </a:ext>
            </a:extLst>
          </p:cNvPr>
          <p:cNvSpPr/>
          <p:nvPr/>
        </p:nvSpPr>
        <p:spPr>
          <a:xfrm>
            <a:off x="2567967" y="3220729"/>
            <a:ext cx="1465553" cy="1484095"/>
          </a:xfrm>
          <a:prstGeom prst="pie">
            <a:avLst>
              <a:gd name="adj1" fmla="val 16199418"/>
              <a:gd name="adj2" fmla="val 5400000"/>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1" name="Rectangle 8">
            <a:extLst>
              <a:ext uri="{FF2B5EF4-FFF2-40B4-BE49-F238E27FC236}">
                <a16:creationId xmlns:a16="http://schemas.microsoft.com/office/drawing/2014/main" id="{608EDDB1-8B06-4D31-9AD2-AFCAA28D6AA8}"/>
              </a:ext>
            </a:extLst>
          </p:cNvPr>
          <p:cNvSpPr>
            <a:spLocks noChangeArrowheads="1"/>
          </p:cNvSpPr>
          <p:nvPr>
            <p:custDataLst>
              <p:tags r:id="rId5"/>
            </p:custDataLst>
          </p:nvPr>
        </p:nvSpPr>
        <p:spPr bwMode="gray">
          <a:xfrm rot="5400000">
            <a:off x="2594835" y="3559861"/>
            <a:ext cx="1446166" cy="818494"/>
          </a:xfrm>
          <a:prstGeom prst="rect">
            <a:avLst/>
          </a:prstGeom>
        </p:spPr>
        <p:txBody>
          <a:bodyPr wrap="none" lIns="0" tIns="0" rIns="0" bIns="0" anchor="ctr">
            <a:prstTxWarp prst="textArchUp">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1800" b="0" i="0" u="none" strike="noStrike" kern="1200" cap="none" spc="0" normalizeH="0" baseline="0" noProof="0">
                <a:solidFill>
                  <a:srgbClr val="FFFFFF"/>
                </a:solidFill>
                <a:highlight>
                  <a:srgbClr val="000000">
                    <a:alpha val="0"/>
                  </a:srgbClr>
                </a:highlight>
                <a:uLnTx/>
                <a:uFillTx/>
                <a:latin typeface="Simsun"/>
                <a:ea typeface="Simsun"/>
                <a:cs typeface="+mn-cs"/>
                <a:sym typeface="Trebuchet MS"/>
              </a:rPr>
              <a:t>当地的</a:t>
            </a:r>
          </a:p>
        </p:txBody>
      </p:sp>
      <p:sp>
        <p:nvSpPr>
          <p:cNvPr id="62" name="TextBox 61">
            <a:extLst>
              <a:ext uri="{FF2B5EF4-FFF2-40B4-BE49-F238E27FC236}">
                <a16:creationId xmlns:a16="http://schemas.microsoft.com/office/drawing/2014/main" id="{B86AD81E-DF85-4848-8690-E61CE9B2D4D8}"/>
              </a:ext>
            </a:extLst>
          </p:cNvPr>
          <p:cNvSpPr txBox="1"/>
          <p:nvPr/>
        </p:nvSpPr>
        <p:spPr>
          <a:xfrm>
            <a:off x="2120157" y="3830322"/>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ct val="0"/>
              </a:spcBef>
              <a:spcAft>
                <a:spcPct val="0"/>
              </a:spcAft>
              <a:buClrTx/>
              <a:buSzTx/>
              <a:buFontTx/>
              <a:buNone/>
              <a:defRPr/>
            </a:pPr>
            <a:r>
              <a:rPr kumimoji="0" lang="zh-Hans" sz="1400" b="0" i="0" u="none" strike="noStrike" kern="1200" cap="none" spc="0" normalizeH="0" baseline="0" noProof="0">
                <a:solidFill>
                  <a:srgbClr val="E71C57"/>
                </a:solidFill>
                <a:highlight>
                  <a:srgbClr val="000000">
                    <a:alpha val="0"/>
                  </a:srgbClr>
                </a:highlight>
                <a:uLnTx/>
                <a:uFillTx/>
                <a:latin typeface="Simsun"/>
                <a:ea typeface="Simsun"/>
                <a:cs typeface="+mn-cs"/>
              </a:rPr>
              <a:t>0号病人</a:t>
            </a:r>
          </a:p>
        </p:txBody>
      </p:sp>
      <p:sp>
        <p:nvSpPr>
          <p:cNvPr id="63" name="Partial Circle 62">
            <a:extLst>
              <a:ext uri="{FF2B5EF4-FFF2-40B4-BE49-F238E27FC236}">
                <a16:creationId xmlns:a16="http://schemas.microsoft.com/office/drawing/2014/main" id="{3E01EB1B-CA34-4F29-AC6B-B1B0722FAF0B}"/>
              </a:ext>
            </a:extLst>
          </p:cNvPr>
          <p:cNvSpPr>
            <a:spLocks noChangeAspect="1"/>
          </p:cNvSpPr>
          <p:nvPr/>
        </p:nvSpPr>
        <p:spPr>
          <a:xfrm>
            <a:off x="2978895" y="3631904"/>
            <a:ext cx="654822" cy="662878"/>
          </a:xfrm>
          <a:prstGeom prst="pie">
            <a:avLst>
              <a:gd name="adj1" fmla="val 16199418"/>
              <a:gd name="adj2" fmla="val 540000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4" name="Group 63">
            <a:extLst>
              <a:ext uri="{FF2B5EF4-FFF2-40B4-BE49-F238E27FC236}">
                <a16:creationId xmlns:a16="http://schemas.microsoft.com/office/drawing/2014/main" id="{334546BD-70E2-471A-94EA-622E687378C6}"/>
              </a:ext>
            </a:extLst>
          </p:cNvPr>
          <p:cNvGrpSpPr>
            <a:grpSpLocks noChangeAspect="1"/>
          </p:cNvGrpSpPr>
          <p:nvPr/>
        </p:nvGrpSpPr>
        <p:grpSpPr>
          <a:xfrm>
            <a:off x="3333175" y="3837199"/>
            <a:ext cx="171548" cy="171548"/>
            <a:chOff x="6559334" y="3899000"/>
            <a:chExt cx="2666673" cy="2583333"/>
          </a:xfrm>
        </p:grpSpPr>
        <p:sp>
          <p:nvSpPr>
            <p:cNvPr id="65" name="AutoShape 8">
              <a:extLst>
                <a:ext uri="{FF2B5EF4-FFF2-40B4-BE49-F238E27FC236}">
                  <a16:creationId xmlns:a16="http://schemas.microsoft.com/office/drawing/2014/main" id="{28AE9648-EDFC-4FE3-82A6-C9E245D29EA7}"/>
                </a:ext>
              </a:extLst>
            </p:cNvPr>
            <p:cNvSpPr>
              <a:spLocks noChangeAspect="1" noChangeArrowheads="1" noTextEdit="1"/>
            </p:cNvSpPr>
            <p:nvPr/>
          </p:nvSpPr>
          <p:spPr bwMode="auto">
            <a:xfrm>
              <a:off x="6602197" y="3899000"/>
              <a:ext cx="2580947" cy="2583333"/>
            </a:xfrm>
            <a:prstGeom prst="rect">
              <a:avLst/>
            </a:pr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6" name="Freeform 10">
              <a:extLst>
                <a:ext uri="{FF2B5EF4-FFF2-40B4-BE49-F238E27FC236}">
                  <a16:creationId xmlns:a16="http://schemas.microsoft.com/office/drawing/2014/main" id="{B83A181C-DEF3-4BA4-900B-050907978E6B}"/>
                </a:ext>
              </a:extLst>
            </p:cNvPr>
            <p:cNvSpPr>
              <a:spLocks noEditPoints="1"/>
            </p:cNvSpPr>
            <p:nvPr/>
          </p:nvSpPr>
          <p:spPr bwMode="auto">
            <a:xfrm>
              <a:off x="7361836" y="4521500"/>
              <a:ext cx="1061669" cy="1784167"/>
            </a:xfrm>
            <a:custGeom>
              <a:avLst/>
              <a:gdLst>
                <a:gd name="T0" fmla="*/ 253 w 680"/>
                <a:gd name="T1" fmla="*/ 691 h 1142"/>
                <a:gd name="T2" fmla="*/ 152 w 680"/>
                <a:gd name="T3" fmla="*/ 625 h 1142"/>
                <a:gd name="T4" fmla="*/ 27 w 680"/>
                <a:gd name="T5" fmla="*/ 357 h 1142"/>
                <a:gd name="T6" fmla="*/ 7 w 680"/>
                <a:gd name="T7" fmla="*/ 269 h 1142"/>
                <a:gd name="T8" fmla="*/ 13 w 680"/>
                <a:gd name="T9" fmla="*/ 193 h 1142"/>
                <a:gd name="T10" fmla="*/ 122 w 680"/>
                <a:gd name="T11" fmla="*/ 18 h 1142"/>
                <a:gd name="T12" fmla="*/ 153 w 680"/>
                <a:gd name="T13" fmla="*/ 0 h 1142"/>
                <a:gd name="T14" fmla="*/ 253 w 680"/>
                <a:gd name="T15" fmla="*/ 17 h 1142"/>
                <a:gd name="T16" fmla="*/ 253 w 680"/>
                <a:gd name="T17" fmla="*/ 691 h 1142"/>
                <a:gd name="T18" fmla="*/ 596 w 680"/>
                <a:gd name="T19" fmla="*/ 257 h 1142"/>
                <a:gd name="T20" fmla="*/ 428 w 680"/>
                <a:gd name="T21" fmla="*/ 107 h 1142"/>
                <a:gd name="T22" fmla="*/ 428 w 680"/>
                <a:gd name="T23" fmla="*/ 685 h 1142"/>
                <a:gd name="T24" fmla="*/ 518 w 680"/>
                <a:gd name="T25" fmla="*/ 625 h 1142"/>
                <a:gd name="T26" fmla="*/ 642 w 680"/>
                <a:gd name="T27" fmla="*/ 357 h 1142"/>
                <a:gd name="T28" fmla="*/ 652 w 680"/>
                <a:gd name="T29" fmla="*/ 324 h 1142"/>
                <a:gd name="T30" fmla="*/ 596 w 680"/>
                <a:gd name="T31" fmla="*/ 257 h 1142"/>
                <a:gd name="T32" fmla="*/ 64 w 680"/>
                <a:gd name="T33" fmla="*/ 865 h 1142"/>
                <a:gd name="T34" fmla="*/ 0 w 680"/>
                <a:gd name="T35" fmla="*/ 868 h 1142"/>
                <a:gd name="T36" fmla="*/ 332 w 680"/>
                <a:gd name="T37" fmla="*/ 1138 h 1142"/>
                <a:gd name="T38" fmla="*/ 349 w 680"/>
                <a:gd name="T39" fmla="*/ 1138 h 1142"/>
                <a:gd name="T40" fmla="*/ 680 w 680"/>
                <a:gd name="T41" fmla="*/ 868 h 1142"/>
                <a:gd name="T42" fmla="*/ 616 w 680"/>
                <a:gd name="T43" fmla="*/ 865 h 1142"/>
                <a:gd name="T44" fmla="*/ 346 w 680"/>
                <a:gd name="T45" fmla="*/ 1086 h 1142"/>
                <a:gd name="T46" fmla="*/ 334 w 680"/>
                <a:gd name="T47" fmla="*/ 1086 h 1142"/>
                <a:gd name="T48" fmla="*/ 64 w 680"/>
                <a:gd name="T49" fmla="*/ 865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0" h="1142">
                  <a:moveTo>
                    <a:pt x="253" y="691"/>
                  </a:moveTo>
                  <a:cubicBezTo>
                    <a:pt x="214" y="672"/>
                    <a:pt x="174" y="645"/>
                    <a:pt x="152" y="625"/>
                  </a:cubicBezTo>
                  <a:cubicBezTo>
                    <a:pt x="134" y="606"/>
                    <a:pt x="76" y="481"/>
                    <a:pt x="27" y="357"/>
                  </a:cubicBezTo>
                  <a:cubicBezTo>
                    <a:pt x="21" y="339"/>
                    <a:pt x="7" y="284"/>
                    <a:pt x="7" y="269"/>
                  </a:cubicBezTo>
                  <a:cubicBezTo>
                    <a:pt x="7" y="252"/>
                    <a:pt x="5" y="214"/>
                    <a:pt x="13" y="193"/>
                  </a:cubicBezTo>
                  <a:cubicBezTo>
                    <a:pt x="34" y="136"/>
                    <a:pt x="64" y="58"/>
                    <a:pt x="122" y="18"/>
                  </a:cubicBezTo>
                  <a:cubicBezTo>
                    <a:pt x="129" y="14"/>
                    <a:pt x="142" y="6"/>
                    <a:pt x="153" y="0"/>
                  </a:cubicBezTo>
                  <a:cubicBezTo>
                    <a:pt x="187" y="1"/>
                    <a:pt x="220" y="7"/>
                    <a:pt x="253" y="17"/>
                  </a:cubicBezTo>
                  <a:lnTo>
                    <a:pt x="253" y="691"/>
                  </a:lnTo>
                  <a:close/>
                  <a:moveTo>
                    <a:pt x="596" y="257"/>
                  </a:moveTo>
                  <a:cubicBezTo>
                    <a:pt x="554" y="215"/>
                    <a:pt x="497" y="158"/>
                    <a:pt x="428" y="107"/>
                  </a:cubicBezTo>
                  <a:cubicBezTo>
                    <a:pt x="428" y="685"/>
                    <a:pt x="428" y="685"/>
                    <a:pt x="428" y="685"/>
                  </a:cubicBezTo>
                  <a:cubicBezTo>
                    <a:pt x="462" y="666"/>
                    <a:pt x="497" y="643"/>
                    <a:pt x="518" y="625"/>
                  </a:cubicBezTo>
                  <a:cubicBezTo>
                    <a:pt x="535" y="606"/>
                    <a:pt x="593" y="481"/>
                    <a:pt x="642" y="357"/>
                  </a:cubicBezTo>
                  <a:cubicBezTo>
                    <a:pt x="648" y="342"/>
                    <a:pt x="650" y="330"/>
                    <a:pt x="652" y="324"/>
                  </a:cubicBezTo>
                  <a:cubicBezTo>
                    <a:pt x="655" y="305"/>
                    <a:pt x="626" y="288"/>
                    <a:pt x="596" y="257"/>
                  </a:cubicBezTo>
                  <a:close/>
                  <a:moveTo>
                    <a:pt x="64" y="865"/>
                  </a:moveTo>
                  <a:cubicBezTo>
                    <a:pt x="64" y="865"/>
                    <a:pt x="38" y="865"/>
                    <a:pt x="0" y="868"/>
                  </a:cubicBezTo>
                  <a:cubicBezTo>
                    <a:pt x="88" y="941"/>
                    <a:pt x="243" y="1068"/>
                    <a:pt x="332" y="1138"/>
                  </a:cubicBezTo>
                  <a:cubicBezTo>
                    <a:pt x="337" y="1142"/>
                    <a:pt x="344" y="1142"/>
                    <a:pt x="349" y="1138"/>
                  </a:cubicBezTo>
                  <a:cubicBezTo>
                    <a:pt x="464" y="1046"/>
                    <a:pt x="601" y="933"/>
                    <a:pt x="680" y="868"/>
                  </a:cubicBezTo>
                  <a:cubicBezTo>
                    <a:pt x="642" y="865"/>
                    <a:pt x="616" y="865"/>
                    <a:pt x="616" y="865"/>
                  </a:cubicBezTo>
                  <a:cubicBezTo>
                    <a:pt x="616" y="865"/>
                    <a:pt x="464" y="991"/>
                    <a:pt x="346" y="1086"/>
                  </a:cubicBezTo>
                  <a:cubicBezTo>
                    <a:pt x="343" y="1089"/>
                    <a:pt x="338" y="1089"/>
                    <a:pt x="334" y="1086"/>
                  </a:cubicBezTo>
                  <a:cubicBezTo>
                    <a:pt x="247" y="1017"/>
                    <a:pt x="64" y="865"/>
                    <a:pt x="64" y="865"/>
                  </a:cubicBezTo>
                  <a:close/>
                </a:path>
              </a:pathLst>
            </a:custGeom>
            <a:solidFill>
              <a:srgbClr val="F28E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11">
              <a:extLst>
                <a:ext uri="{FF2B5EF4-FFF2-40B4-BE49-F238E27FC236}">
                  <a16:creationId xmlns:a16="http://schemas.microsoft.com/office/drawing/2014/main" id="{17FEA3AE-29D7-47ED-A2EE-61B24A2CED2C}"/>
                </a:ext>
              </a:extLst>
            </p:cNvPr>
            <p:cNvSpPr>
              <a:spLocks noEditPoints="1"/>
            </p:cNvSpPr>
            <p:nvPr/>
          </p:nvSpPr>
          <p:spPr bwMode="auto">
            <a:xfrm>
              <a:off x="6559334" y="3899000"/>
              <a:ext cx="2666673" cy="2583333"/>
            </a:xfrm>
            <a:custGeom>
              <a:avLst/>
              <a:gdLst>
                <a:gd name="T0" fmla="*/ 1301 w 1708"/>
                <a:gd name="T1" fmla="*/ 537 h 1653"/>
                <a:gd name="T2" fmla="*/ 1333 w 1708"/>
                <a:gd name="T3" fmla="*/ 635 h 1653"/>
                <a:gd name="T4" fmla="*/ 1197 w 1708"/>
                <a:gd name="T5" fmla="*/ 675 h 1653"/>
                <a:gd name="T6" fmla="*/ 655 w 1708"/>
                <a:gd name="T7" fmla="*/ 354 h 1653"/>
                <a:gd name="T8" fmla="*/ 612 w 1708"/>
                <a:gd name="T9" fmla="*/ 380 h 1653"/>
                <a:gd name="T10" fmla="*/ 436 w 1708"/>
                <a:gd name="T11" fmla="*/ 638 h 1653"/>
                <a:gd name="T12" fmla="*/ 411 w 1708"/>
                <a:gd name="T13" fmla="*/ 452 h 1653"/>
                <a:gd name="T14" fmla="*/ 857 w 1708"/>
                <a:gd name="T15" fmla="*/ 0 h 1653"/>
                <a:gd name="T16" fmla="*/ 1303 w 1708"/>
                <a:gd name="T17" fmla="*/ 452 h 1653"/>
                <a:gd name="T18" fmla="*/ 1301 w 1708"/>
                <a:gd name="T19" fmla="*/ 537 h 1653"/>
                <a:gd name="T20" fmla="*/ 463 w 1708"/>
                <a:gd name="T21" fmla="*/ 795 h 1653"/>
                <a:gd name="T22" fmla="*/ 607 w 1708"/>
                <a:gd name="T23" fmla="*/ 1089 h 1653"/>
                <a:gd name="T24" fmla="*/ 633 w 1708"/>
                <a:gd name="T25" fmla="*/ 1110 h 1653"/>
                <a:gd name="T26" fmla="*/ 633 w 1708"/>
                <a:gd name="T27" fmla="*/ 1251 h 1653"/>
                <a:gd name="T28" fmla="*/ 673 w 1708"/>
                <a:gd name="T29" fmla="*/ 1285 h 1653"/>
                <a:gd name="T30" fmla="*/ 677 w 1708"/>
                <a:gd name="T31" fmla="*/ 1285 h 1653"/>
                <a:gd name="T32" fmla="*/ 677 w 1708"/>
                <a:gd name="T33" fmla="*/ 1140 h 1653"/>
                <a:gd name="T34" fmla="*/ 849 w 1708"/>
                <a:gd name="T35" fmla="*/ 1206 h 1653"/>
                <a:gd name="T36" fmla="*/ 1038 w 1708"/>
                <a:gd name="T37" fmla="*/ 1128 h 1653"/>
                <a:gd name="T38" fmla="*/ 1038 w 1708"/>
                <a:gd name="T39" fmla="*/ 1282 h 1653"/>
                <a:gd name="T40" fmla="*/ 1082 w 1708"/>
                <a:gd name="T41" fmla="*/ 1246 h 1653"/>
                <a:gd name="T42" fmla="*/ 1082 w 1708"/>
                <a:gd name="T43" fmla="*/ 1096 h 1653"/>
                <a:gd name="T44" fmla="*/ 1090 w 1708"/>
                <a:gd name="T45" fmla="*/ 1089 h 1653"/>
                <a:gd name="T46" fmla="*/ 1235 w 1708"/>
                <a:gd name="T47" fmla="*/ 794 h 1653"/>
                <a:gd name="T48" fmla="*/ 1297 w 1708"/>
                <a:gd name="T49" fmla="*/ 706 h 1653"/>
                <a:gd name="T50" fmla="*/ 1244 w 1708"/>
                <a:gd name="T51" fmla="*/ 723 h 1653"/>
                <a:gd name="T52" fmla="*/ 1207 w 1708"/>
                <a:gd name="T53" fmla="*/ 759 h 1653"/>
                <a:gd name="T54" fmla="*/ 1197 w 1708"/>
                <a:gd name="T55" fmla="*/ 771 h 1653"/>
                <a:gd name="T56" fmla="*/ 1061 w 1708"/>
                <a:gd name="T57" fmla="*/ 1056 h 1653"/>
                <a:gd name="T58" fmla="*/ 849 w 1708"/>
                <a:gd name="T59" fmla="*/ 1162 h 1653"/>
                <a:gd name="T60" fmla="*/ 636 w 1708"/>
                <a:gd name="T61" fmla="*/ 1056 h 1653"/>
                <a:gd name="T62" fmla="*/ 500 w 1708"/>
                <a:gd name="T63" fmla="*/ 771 h 1653"/>
                <a:gd name="T64" fmla="*/ 487 w 1708"/>
                <a:gd name="T65" fmla="*/ 758 h 1653"/>
                <a:gd name="T66" fmla="*/ 442 w 1708"/>
                <a:gd name="T67" fmla="*/ 686 h 1653"/>
                <a:gd name="T68" fmla="*/ 407 w 1708"/>
                <a:gd name="T69" fmla="*/ 671 h 1653"/>
                <a:gd name="T70" fmla="*/ 396 w 1708"/>
                <a:gd name="T71" fmla="*/ 649 h 1653"/>
                <a:gd name="T72" fmla="*/ 395 w 1708"/>
                <a:gd name="T73" fmla="*/ 655 h 1653"/>
                <a:gd name="T74" fmla="*/ 463 w 1708"/>
                <a:gd name="T75" fmla="*/ 795 h 1653"/>
                <a:gd name="T76" fmla="*/ 1703 w 1708"/>
                <a:gd name="T77" fmla="*/ 1625 h 1653"/>
                <a:gd name="T78" fmla="*/ 1497 w 1708"/>
                <a:gd name="T79" fmla="*/ 1325 h 1653"/>
                <a:gd name="T80" fmla="*/ 1257 w 1708"/>
                <a:gd name="T81" fmla="*/ 1271 h 1653"/>
                <a:gd name="T82" fmla="*/ 1222 w 1708"/>
                <a:gd name="T83" fmla="*/ 1300 h 1653"/>
                <a:gd name="T84" fmla="*/ 890 w 1708"/>
                <a:gd name="T85" fmla="*/ 1571 h 1653"/>
                <a:gd name="T86" fmla="*/ 854 w 1708"/>
                <a:gd name="T87" fmla="*/ 1583 h 1653"/>
                <a:gd name="T88" fmla="*/ 818 w 1708"/>
                <a:gd name="T89" fmla="*/ 1571 h 1653"/>
                <a:gd name="T90" fmla="*/ 486 w 1708"/>
                <a:gd name="T91" fmla="*/ 1300 h 1653"/>
                <a:gd name="T92" fmla="*/ 451 w 1708"/>
                <a:gd name="T93" fmla="*/ 1271 h 1653"/>
                <a:gd name="T94" fmla="*/ 211 w 1708"/>
                <a:gd name="T95" fmla="*/ 1325 h 1653"/>
                <a:gd name="T96" fmla="*/ 5 w 1708"/>
                <a:gd name="T97" fmla="*/ 1625 h 1653"/>
                <a:gd name="T98" fmla="*/ 25 w 1708"/>
                <a:gd name="T99" fmla="*/ 1653 h 1653"/>
                <a:gd name="T100" fmla="*/ 1683 w 1708"/>
                <a:gd name="T101" fmla="*/ 1653 h 1653"/>
                <a:gd name="T102" fmla="*/ 1703 w 1708"/>
                <a:gd name="T103" fmla="*/ 1625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8" h="1653">
                  <a:moveTo>
                    <a:pt x="1301" y="537"/>
                  </a:moveTo>
                  <a:cubicBezTo>
                    <a:pt x="1299" y="561"/>
                    <a:pt x="1307" y="597"/>
                    <a:pt x="1333" y="635"/>
                  </a:cubicBezTo>
                  <a:cubicBezTo>
                    <a:pt x="1333" y="635"/>
                    <a:pt x="1241" y="700"/>
                    <a:pt x="1197" y="675"/>
                  </a:cubicBezTo>
                  <a:cubicBezTo>
                    <a:pt x="1146" y="647"/>
                    <a:pt x="934" y="353"/>
                    <a:pt x="655" y="354"/>
                  </a:cubicBezTo>
                  <a:cubicBezTo>
                    <a:pt x="655" y="354"/>
                    <a:pt x="625" y="371"/>
                    <a:pt x="612" y="380"/>
                  </a:cubicBezTo>
                  <a:cubicBezTo>
                    <a:pt x="486" y="465"/>
                    <a:pt x="480" y="677"/>
                    <a:pt x="436" y="638"/>
                  </a:cubicBezTo>
                  <a:cubicBezTo>
                    <a:pt x="420" y="618"/>
                    <a:pt x="411" y="507"/>
                    <a:pt x="411" y="452"/>
                  </a:cubicBezTo>
                  <a:cubicBezTo>
                    <a:pt x="411" y="202"/>
                    <a:pt x="605" y="0"/>
                    <a:pt x="857" y="0"/>
                  </a:cubicBezTo>
                  <a:cubicBezTo>
                    <a:pt x="1110" y="0"/>
                    <a:pt x="1303" y="202"/>
                    <a:pt x="1303" y="452"/>
                  </a:cubicBezTo>
                  <a:cubicBezTo>
                    <a:pt x="1303" y="481"/>
                    <a:pt x="1304" y="510"/>
                    <a:pt x="1301" y="537"/>
                  </a:cubicBezTo>
                  <a:close/>
                  <a:moveTo>
                    <a:pt x="463" y="795"/>
                  </a:moveTo>
                  <a:cubicBezTo>
                    <a:pt x="486" y="854"/>
                    <a:pt x="566" y="1053"/>
                    <a:pt x="607" y="1089"/>
                  </a:cubicBezTo>
                  <a:cubicBezTo>
                    <a:pt x="614" y="1095"/>
                    <a:pt x="623" y="1102"/>
                    <a:pt x="633" y="1110"/>
                  </a:cubicBezTo>
                  <a:cubicBezTo>
                    <a:pt x="633" y="1251"/>
                    <a:pt x="633" y="1251"/>
                    <a:pt x="633" y="1251"/>
                  </a:cubicBezTo>
                  <a:cubicBezTo>
                    <a:pt x="644" y="1261"/>
                    <a:pt x="658" y="1272"/>
                    <a:pt x="673" y="1285"/>
                  </a:cubicBezTo>
                  <a:cubicBezTo>
                    <a:pt x="677" y="1285"/>
                    <a:pt x="677" y="1285"/>
                    <a:pt x="677" y="1285"/>
                  </a:cubicBezTo>
                  <a:cubicBezTo>
                    <a:pt x="677" y="1140"/>
                    <a:pt x="677" y="1140"/>
                    <a:pt x="677" y="1140"/>
                  </a:cubicBezTo>
                  <a:cubicBezTo>
                    <a:pt x="731" y="1173"/>
                    <a:pt x="799" y="1206"/>
                    <a:pt x="849" y="1206"/>
                  </a:cubicBezTo>
                  <a:cubicBezTo>
                    <a:pt x="904" y="1206"/>
                    <a:pt x="982" y="1166"/>
                    <a:pt x="1038" y="1128"/>
                  </a:cubicBezTo>
                  <a:cubicBezTo>
                    <a:pt x="1038" y="1282"/>
                    <a:pt x="1038" y="1282"/>
                    <a:pt x="1038" y="1282"/>
                  </a:cubicBezTo>
                  <a:cubicBezTo>
                    <a:pt x="1056" y="1267"/>
                    <a:pt x="1071" y="1255"/>
                    <a:pt x="1082" y="1246"/>
                  </a:cubicBezTo>
                  <a:cubicBezTo>
                    <a:pt x="1082" y="1096"/>
                    <a:pt x="1082" y="1096"/>
                    <a:pt x="1082" y="1096"/>
                  </a:cubicBezTo>
                  <a:cubicBezTo>
                    <a:pt x="1085" y="1093"/>
                    <a:pt x="1088" y="1091"/>
                    <a:pt x="1090" y="1089"/>
                  </a:cubicBezTo>
                  <a:cubicBezTo>
                    <a:pt x="1131" y="1052"/>
                    <a:pt x="1212" y="851"/>
                    <a:pt x="1235" y="794"/>
                  </a:cubicBezTo>
                  <a:cubicBezTo>
                    <a:pt x="1275" y="770"/>
                    <a:pt x="1291" y="731"/>
                    <a:pt x="1297" y="706"/>
                  </a:cubicBezTo>
                  <a:cubicBezTo>
                    <a:pt x="1281" y="713"/>
                    <a:pt x="1263" y="720"/>
                    <a:pt x="1244" y="723"/>
                  </a:cubicBezTo>
                  <a:cubicBezTo>
                    <a:pt x="1237" y="737"/>
                    <a:pt x="1225" y="750"/>
                    <a:pt x="1207" y="759"/>
                  </a:cubicBezTo>
                  <a:cubicBezTo>
                    <a:pt x="1202" y="762"/>
                    <a:pt x="1199" y="766"/>
                    <a:pt x="1197" y="771"/>
                  </a:cubicBezTo>
                  <a:cubicBezTo>
                    <a:pt x="1159" y="868"/>
                    <a:pt x="1088" y="1032"/>
                    <a:pt x="1061" y="1056"/>
                  </a:cubicBezTo>
                  <a:cubicBezTo>
                    <a:pt x="1020" y="1092"/>
                    <a:pt x="908" y="1162"/>
                    <a:pt x="849" y="1162"/>
                  </a:cubicBezTo>
                  <a:cubicBezTo>
                    <a:pt x="789" y="1162"/>
                    <a:pt x="677" y="1092"/>
                    <a:pt x="636" y="1056"/>
                  </a:cubicBezTo>
                  <a:cubicBezTo>
                    <a:pt x="609" y="1032"/>
                    <a:pt x="539" y="868"/>
                    <a:pt x="500" y="771"/>
                  </a:cubicBezTo>
                  <a:cubicBezTo>
                    <a:pt x="498" y="765"/>
                    <a:pt x="493" y="760"/>
                    <a:pt x="487" y="758"/>
                  </a:cubicBezTo>
                  <a:cubicBezTo>
                    <a:pt x="461" y="748"/>
                    <a:pt x="448" y="714"/>
                    <a:pt x="442" y="686"/>
                  </a:cubicBezTo>
                  <a:cubicBezTo>
                    <a:pt x="432" y="686"/>
                    <a:pt x="418" y="684"/>
                    <a:pt x="407" y="671"/>
                  </a:cubicBezTo>
                  <a:cubicBezTo>
                    <a:pt x="403" y="664"/>
                    <a:pt x="399" y="656"/>
                    <a:pt x="396" y="649"/>
                  </a:cubicBezTo>
                  <a:cubicBezTo>
                    <a:pt x="395" y="651"/>
                    <a:pt x="395" y="653"/>
                    <a:pt x="395" y="655"/>
                  </a:cubicBezTo>
                  <a:cubicBezTo>
                    <a:pt x="394" y="683"/>
                    <a:pt x="406" y="767"/>
                    <a:pt x="463" y="795"/>
                  </a:cubicBezTo>
                  <a:close/>
                  <a:moveTo>
                    <a:pt x="1703" y="1625"/>
                  </a:moveTo>
                  <a:cubicBezTo>
                    <a:pt x="1677" y="1555"/>
                    <a:pt x="1601" y="1373"/>
                    <a:pt x="1497" y="1325"/>
                  </a:cubicBezTo>
                  <a:cubicBezTo>
                    <a:pt x="1430" y="1294"/>
                    <a:pt x="1334" y="1279"/>
                    <a:pt x="1257" y="1271"/>
                  </a:cubicBezTo>
                  <a:cubicBezTo>
                    <a:pt x="1222" y="1300"/>
                    <a:pt x="1222" y="1300"/>
                    <a:pt x="1222" y="1300"/>
                  </a:cubicBezTo>
                  <a:cubicBezTo>
                    <a:pt x="1149" y="1360"/>
                    <a:pt x="1007" y="1477"/>
                    <a:pt x="890" y="1571"/>
                  </a:cubicBezTo>
                  <a:cubicBezTo>
                    <a:pt x="880" y="1579"/>
                    <a:pt x="867" y="1583"/>
                    <a:pt x="854" y="1583"/>
                  </a:cubicBezTo>
                  <a:cubicBezTo>
                    <a:pt x="841" y="1583"/>
                    <a:pt x="828" y="1579"/>
                    <a:pt x="818" y="1571"/>
                  </a:cubicBezTo>
                  <a:cubicBezTo>
                    <a:pt x="729" y="1500"/>
                    <a:pt x="572" y="1371"/>
                    <a:pt x="486" y="1300"/>
                  </a:cubicBezTo>
                  <a:cubicBezTo>
                    <a:pt x="451" y="1271"/>
                    <a:pt x="451" y="1271"/>
                    <a:pt x="451" y="1271"/>
                  </a:cubicBezTo>
                  <a:cubicBezTo>
                    <a:pt x="374" y="1279"/>
                    <a:pt x="278" y="1294"/>
                    <a:pt x="211" y="1325"/>
                  </a:cubicBezTo>
                  <a:cubicBezTo>
                    <a:pt x="107" y="1373"/>
                    <a:pt x="31" y="1555"/>
                    <a:pt x="5" y="1625"/>
                  </a:cubicBezTo>
                  <a:cubicBezTo>
                    <a:pt x="0" y="1639"/>
                    <a:pt x="10" y="1653"/>
                    <a:pt x="25" y="1653"/>
                  </a:cubicBezTo>
                  <a:cubicBezTo>
                    <a:pt x="1683" y="1653"/>
                    <a:pt x="1683" y="1653"/>
                    <a:pt x="1683" y="1653"/>
                  </a:cubicBezTo>
                  <a:cubicBezTo>
                    <a:pt x="1698" y="1653"/>
                    <a:pt x="1708" y="1639"/>
                    <a:pt x="1703" y="1625"/>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6" name="Group 75">
            <a:extLst>
              <a:ext uri="{FF2B5EF4-FFF2-40B4-BE49-F238E27FC236}">
                <a16:creationId xmlns:a16="http://schemas.microsoft.com/office/drawing/2014/main" id="{3970BD05-295F-4D3A-9EFA-123DD39B6E82}"/>
              </a:ext>
            </a:extLst>
          </p:cNvPr>
          <p:cNvGrpSpPr/>
          <p:nvPr/>
        </p:nvGrpSpPr>
        <p:grpSpPr>
          <a:xfrm rot="621259">
            <a:off x="8929742" y="4480525"/>
            <a:ext cx="503382" cy="677788"/>
            <a:chOff x="4105487" y="3327504"/>
            <a:chExt cx="503382" cy="875184"/>
          </a:xfrm>
        </p:grpSpPr>
        <p:sp>
          <p:nvSpPr>
            <p:cNvPr id="88" name="Freeform 275">
              <a:extLst>
                <a:ext uri="{FF2B5EF4-FFF2-40B4-BE49-F238E27FC236}">
                  <a16:creationId xmlns:a16="http://schemas.microsoft.com/office/drawing/2014/main" id="{259D777B-9BCF-444B-9F9D-56B53FAE9F53}"/>
                </a:ext>
              </a:extLst>
            </p:cNvPr>
            <p:cNvSpPr/>
            <p:nvPr/>
          </p:nvSpPr>
          <p:spPr>
            <a:xfrm rot="16657597">
              <a:off x="4089270" y="3683090"/>
              <a:ext cx="841643" cy="197554"/>
            </a:xfrm>
            <a:custGeom>
              <a:avLst/>
              <a:gdLst>
                <a:gd name="connsiteX0" fmla="*/ 2243402 w 2243402"/>
                <a:gd name="connsiteY0" fmla="*/ 0 h 587258"/>
                <a:gd name="connsiteX1" fmla="*/ 0 w 2243402"/>
                <a:gd name="connsiteY1" fmla="*/ 502210 h 587258"/>
                <a:gd name="connsiteX2" fmla="*/ 0 w 2114550"/>
                <a:gd name="connsiteY2" fmla="*/ 438150 h 438150"/>
                <a:gd name="connsiteX3" fmla="*/ 0 w 2114550"/>
                <a:gd name="connsiteY3" fmla="*/ 438150 h 438150"/>
              </a:gdLst>
              <a:ahLst/>
              <a:cxnLst>
                <a:cxn ang="0">
                  <a:pos x="connsiteX0" y="connsiteY0"/>
                </a:cxn>
                <a:cxn ang="0">
                  <a:pos x="connsiteX1" y="connsiteY1"/>
                </a:cxn>
              </a:cxnLst>
              <a:rect l="l" t="t" r="r" b="b"/>
              <a:pathLst>
                <a:path w="2243402" h="587258">
                  <a:moveTo>
                    <a:pt x="2243402" y="0"/>
                  </a:moveTo>
                  <a:cubicBezTo>
                    <a:pt x="1957582" y="491802"/>
                    <a:pt x="809080" y="725647"/>
                    <a:pt x="0" y="502210"/>
                  </a:cubicBezTo>
                </a:path>
              </a:pathLst>
            </a:custGeom>
            <a:ln w="76200" cap="rnd"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105156" tIns="52578" rIns="105156" bIns="52578"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9" name="Freeform 275">
              <a:extLst>
                <a:ext uri="{FF2B5EF4-FFF2-40B4-BE49-F238E27FC236}">
                  <a16:creationId xmlns:a16="http://schemas.microsoft.com/office/drawing/2014/main" id="{6B35748C-A99D-447D-9D22-96EF6FD20400}"/>
                </a:ext>
              </a:extLst>
            </p:cNvPr>
            <p:cNvSpPr/>
            <p:nvPr/>
          </p:nvSpPr>
          <p:spPr>
            <a:xfrm rot="6083154">
              <a:off x="3820813" y="3612178"/>
              <a:ext cx="832324" cy="262976"/>
            </a:xfrm>
            <a:custGeom>
              <a:avLst/>
              <a:gdLst>
                <a:gd name="connsiteX0" fmla="*/ 2243402 w 2243402"/>
                <a:gd name="connsiteY0" fmla="*/ 0 h 587258"/>
                <a:gd name="connsiteX1" fmla="*/ 0 w 2243402"/>
                <a:gd name="connsiteY1" fmla="*/ 502210 h 587258"/>
                <a:gd name="connsiteX2" fmla="*/ 0 w 2114550"/>
                <a:gd name="connsiteY2" fmla="*/ 438150 h 438150"/>
                <a:gd name="connsiteX3" fmla="*/ 0 w 2114550"/>
                <a:gd name="connsiteY3" fmla="*/ 438150 h 438150"/>
              </a:gdLst>
              <a:ahLst/>
              <a:cxnLst>
                <a:cxn ang="0">
                  <a:pos x="connsiteX0" y="connsiteY0"/>
                </a:cxn>
                <a:cxn ang="0">
                  <a:pos x="connsiteX1" y="connsiteY1"/>
                </a:cxn>
              </a:cxnLst>
              <a:rect l="l" t="t" r="r" b="b"/>
              <a:pathLst>
                <a:path w="2243402" h="587258">
                  <a:moveTo>
                    <a:pt x="2243402" y="0"/>
                  </a:moveTo>
                  <a:cubicBezTo>
                    <a:pt x="1957582" y="491802"/>
                    <a:pt x="809080" y="725647"/>
                    <a:pt x="0" y="502210"/>
                  </a:cubicBezTo>
                </a:path>
              </a:pathLst>
            </a:custGeom>
            <a:ln w="76200" cap="rnd"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105156" tIns="52578" rIns="105156" bIns="52578"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4" name="TextBox 13">
            <a:extLst>
              <a:ext uri="{FF2B5EF4-FFF2-40B4-BE49-F238E27FC236}">
                <a16:creationId xmlns:a16="http://schemas.microsoft.com/office/drawing/2014/main" id="{C48129D4-E8A6-4E9C-B73A-7A408C275376}"/>
              </a:ext>
            </a:extLst>
          </p:cNvPr>
          <p:cNvSpPr txBox="1"/>
          <p:nvPr/>
        </p:nvSpPr>
        <p:spPr>
          <a:xfrm>
            <a:off x="6671757" y="5392935"/>
            <a:ext cx="5167783" cy="594137"/>
          </a:xfrm>
          <a:prstGeom prst="rect">
            <a:avLst/>
          </a:prstGeom>
        </p:spPr>
        <p:txBody>
          <a:bodyPr vert="horz" wrap="square" lIns="0" tIns="0" rIns="0" bIns="0" rtlCol="0" anchor="t" anchorCtr="0">
            <a:noAutofit/>
          </a:bodyPr>
          <a:lstStyle>
            <a:lvl1pPr lvl="0" indent="0">
              <a:lnSpc>
                <a:spcPct val="110000"/>
              </a:lnSpc>
              <a:spcBef>
                <a:spcPts val="600"/>
              </a:spcBef>
              <a:spcAft>
                <a:spcPts val="300"/>
              </a:spcAft>
              <a:buFont typeface="Arial" panose="020B0604020202020204" pitchFamily="34" charset="0"/>
              <a:buChar char="​"/>
              <a:defRPr lang="en-US" sz="1200">
                <a:solidFill>
                  <a:schemeClr val="tx1"/>
                </a:solidFill>
                <a:sym typeface="+mn-lt"/>
              </a:defRPr>
            </a:lvl1pPr>
            <a:lvl2pPr marL="284400" lvl="1" indent="-172800">
              <a:lnSpc>
                <a:spcPct val="90000"/>
              </a:lnSpc>
              <a:spcBef>
                <a:spcPct val="0"/>
              </a:spcBef>
              <a:spcAft>
                <a:spcPts val="300"/>
              </a:spcAft>
              <a:buClr>
                <a:schemeClr val="tx2"/>
              </a:buClr>
              <a:buFont typeface="Arial" panose="020B0604020202020204" pitchFamily="34" charset="0"/>
              <a:buChar char="•"/>
              <a:defRPr lang="en-US" sz="1200">
                <a:solidFill>
                  <a:schemeClr val="tx1"/>
                </a:solidFill>
                <a:sym typeface="+mn-lt"/>
              </a:defRPr>
            </a:lvl2pPr>
            <a:lvl3pPr marL="511200" lvl="2" indent="-165600">
              <a:lnSpc>
                <a:spcPct val="90000"/>
              </a:lnSpc>
              <a:spcBef>
                <a:spcPct val="0"/>
              </a:spcBef>
              <a:spcAft>
                <a:spcPts val="300"/>
              </a:spcAft>
              <a:buClr>
                <a:schemeClr val="tx2"/>
              </a:buClr>
              <a:buFont typeface="Trebuchet MS" panose="020B0603020202020204" pitchFamily="34" charset="0"/>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ct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ct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ct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ct val="0"/>
              </a:spcBef>
              <a:spcAft>
                <a:spcPts val="900"/>
              </a:spcAft>
              <a:buFont typeface="Arial" panose="020B0604020202020204" pitchFamily="34" charset="0"/>
              <a:buChar char="​"/>
              <a:defRPr lang="en-US" sz="2400" baseline="0">
                <a:solidFill>
                  <a:schemeClr val="tx2"/>
                </a:solidFill>
                <a:sym typeface="+mn-lt"/>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Char char="​"/>
              <a:defRPr/>
            </a:pPr>
            <a:r>
              <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mn-cs"/>
                <a:sym typeface="+mn-lt"/>
              </a:rPr>
              <a:t>...国家、区域和全球性的网络共同支持卫生突发事件准备和</a:t>
            </a:r>
            <a:r>
              <a:rPr lang="zh-CN" altLang="en-US" sz="1800" dirty="0">
                <a:solidFill>
                  <a:srgbClr val="000000"/>
                </a:solidFill>
                <a:highlight>
                  <a:srgbClr val="000000">
                    <a:alpha val="0"/>
                  </a:srgbClr>
                </a:highlight>
                <a:latin typeface="Simsun"/>
                <a:ea typeface="Simsun"/>
              </a:rPr>
              <a:t>应对</a:t>
            </a:r>
            <a:endParaRPr kumimoji="0" lang="zh-Hans" sz="1800" b="0" i="0" u="none" strike="noStrike" kern="1200" cap="none" spc="0" normalizeH="0" baseline="0" noProof="0" dirty="0">
              <a:solidFill>
                <a:srgbClr val="000000"/>
              </a:solidFill>
              <a:highlight>
                <a:srgbClr val="000000">
                  <a:alpha val="0"/>
                </a:srgbClr>
              </a:highlight>
              <a:uLnTx/>
              <a:uFillTx/>
              <a:latin typeface="Simsun"/>
              <a:ea typeface="Simsun"/>
              <a:cs typeface="+mn-cs"/>
              <a:sym typeface="+mn-lt"/>
            </a:endParaRPr>
          </a:p>
        </p:txBody>
      </p:sp>
      <p:grpSp>
        <p:nvGrpSpPr>
          <p:cNvPr id="19" name="ChevronBlue 19">
            <a:extLst>
              <a:ext uri="{FF2B5EF4-FFF2-40B4-BE49-F238E27FC236}">
                <a16:creationId xmlns:a16="http://schemas.microsoft.com/office/drawing/2014/main" id="{6170B7CE-3376-40B3-83D4-DF0F8837F0BE}"/>
              </a:ext>
            </a:extLst>
          </p:cNvPr>
          <p:cNvGrpSpPr>
            <a:grpSpLocks noChangeAspect="1"/>
          </p:cNvGrpSpPr>
          <p:nvPr>
            <p:custDataLst>
              <p:tags r:id="rId6"/>
            </p:custDataLst>
          </p:nvPr>
        </p:nvGrpSpPr>
        <p:grpSpPr>
          <a:xfrm>
            <a:off x="6015479" y="3595718"/>
            <a:ext cx="457200" cy="457200"/>
            <a:chOff x="1016000" y="1016000"/>
            <a:chExt cx="396228" cy="396228"/>
          </a:xfrm>
        </p:grpSpPr>
        <p:sp>
          <p:nvSpPr>
            <p:cNvPr id="13" name="Oval 12">
              <a:extLst>
                <a:ext uri="{FF2B5EF4-FFF2-40B4-BE49-F238E27FC236}">
                  <a16:creationId xmlns:a16="http://schemas.microsoft.com/office/drawing/2014/main" id="{E25F66C3-3EA0-4E35-A9A0-6AB840C1F909}"/>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endParaRPr kumimoji="0" lang="en-US" sz="1600" b="0" i="0" u="none" strike="noStrike" kern="1200" cap="none" spc="0" normalizeH="0" baseline="0" noProof="0" err="1">
                <a:ln>
                  <a:noFill/>
                </a:ln>
                <a:solidFill>
                  <a:srgbClr val="FFFFFF"/>
                </a:solidFill>
                <a:effectLst/>
                <a:uLnTx/>
                <a:uFillTx/>
                <a:latin typeface="Calibri" panose="020F0502020204030204"/>
                <a:ea typeface="+mn-ea"/>
                <a:cs typeface="+mn-cs"/>
              </a:endParaRPr>
            </a:p>
          </p:txBody>
        </p:sp>
        <p:pic>
          <p:nvPicPr>
            <p:cNvPr id="16" name="Graphic 15">
              <a:extLst>
                <a:ext uri="{FF2B5EF4-FFF2-40B4-BE49-F238E27FC236}">
                  <a16:creationId xmlns:a16="http://schemas.microsoft.com/office/drawing/2014/main" id="{A911C6E2-D6E2-402A-A701-9D9AF5A0FE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39" name="TextBox 38">
            <a:extLst>
              <a:ext uri="{FF2B5EF4-FFF2-40B4-BE49-F238E27FC236}">
                <a16:creationId xmlns:a16="http://schemas.microsoft.com/office/drawing/2014/main" id="{1DF3BF37-FCBC-4E08-B797-9BC58D2D0EF6}"/>
              </a:ext>
            </a:extLst>
          </p:cNvPr>
          <p:cNvSpPr txBox="1"/>
          <p:nvPr/>
        </p:nvSpPr>
        <p:spPr>
          <a:xfrm>
            <a:off x="6839207" y="1586056"/>
            <a:ext cx="4747793" cy="289438"/>
          </a:xfrm>
          <a:prstGeom prst="rect">
            <a:avLst/>
          </a:prstGeom>
        </p:spPr>
        <p:txBody>
          <a:bodyPr vert="horz" wrap="square" lIns="0" tIns="0" rIns="0" bIns="0" rtlCol="0" anchor="t" anchorCtr="0">
            <a:noAutofit/>
          </a:bodyPr>
          <a:lstStyle>
            <a:lvl1pPr lvl="0" indent="0">
              <a:lnSpc>
                <a:spcPct val="110000"/>
              </a:lnSpc>
              <a:spcBef>
                <a:spcPts val="600"/>
              </a:spcBef>
              <a:spcAft>
                <a:spcPts val="300"/>
              </a:spcAft>
              <a:buFont typeface="Arial" panose="020B0604020202020204" pitchFamily="34" charset="0"/>
              <a:buChar char="​"/>
              <a:defRPr lang="en-US" sz="1200">
                <a:solidFill>
                  <a:schemeClr val="tx1"/>
                </a:solidFill>
                <a:sym typeface="+mn-lt"/>
              </a:defRPr>
            </a:lvl1pPr>
            <a:lvl2pPr marL="284400" lvl="1" indent="-172800">
              <a:lnSpc>
                <a:spcPct val="90000"/>
              </a:lnSpc>
              <a:spcBef>
                <a:spcPct val="0"/>
              </a:spcBef>
              <a:spcAft>
                <a:spcPts val="300"/>
              </a:spcAft>
              <a:buClr>
                <a:schemeClr val="tx2"/>
              </a:buClr>
              <a:buFont typeface="Arial" panose="020B0604020202020204" pitchFamily="34" charset="0"/>
              <a:buChar char="•"/>
              <a:defRPr lang="en-US" sz="1200">
                <a:solidFill>
                  <a:schemeClr val="tx1"/>
                </a:solidFill>
                <a:sym typeface="+mn-lt"/>
              </a:defRPr>
            </a:lvl2pPr>
            <a:lvl3pPr marL="511200" lvl="2" indent="-165600">
              <a:lnSpc>
                <a:spcPct val="90000"/>
              </a:lnSpc>
              <a:spcBef>
                <a:spcPct val="0"/>
              </a:spcBef>
              <a:spcAft>
                <a:spcPts val="300"/>
              </a:spcAft>
              <a:buClr>
                <a:schemeClr val="tx2"/>
              </a:buClr>
              <a:buFont typeface="Trebuchet MS" panose="020B0603020202020204" pitchFamily="34" charset="0"/>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ct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ct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ct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ct val="0"/>
              </a:spcBef>
              <a:spcAft>
                <a:spcPts val="900"/>
              </a:spcAft>
              <a:buFont typeface="Arial" panose="020B0604020202020204" pitchFamily="34" charset="0"/>
              <a:buChar char="​"/>
              <a:defRPr lang="en-US" sz="2400" baseline="0">
                <a:solidFill>
                  <a:schemeClr val="tx2"/>
                </a:solidFill>
                <a:sym typeface="+mn-lt"/>
              </a:defRPr>
            </a:lvl9pPr>
          </a:lstStyle>
          <a:p>
            <a:pPr marL="0" marR="0" lvl="0" indent="0" algn="ctr" defTabSz="914400" rtl="0" eaLnBrk="1" fontAlgn="auto" latinLnBrk="0" hangingPunct="1">
              <a:lnSpc>
                <a:spcPct val="110000"/>
              </a:lnSpc>
              <a:spcBef>
                <a:spcPts val="600"/>
              </a:spcBef>
              <a:spcAft>
                <a:spcPts val="300"/>
              </a:spcAft>
              <a:buClrTx/>
              <a:buSz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sym typeface="+mn-lt"/>
              </a:rPr>
              <a:t>有韧性的社区</a:t>
            </a:r>
          </a:p>
        </p:txBody>
      </p:sp>
      <p:pic>
        <p:nvPicPr>
          <p:cNvPr id="3" name="Picture 2">
            <a:extLst>
              <a:ext uri="{FF2B5EF4-FFF2-40B4-BE49-F238E27FC236}">
                <a16:creationId xmlns:a16="http://schemas.microsoft.com/office/drawing/2014/main" id="{136EAF05-64B5-4387-BA50-6A0867DDBAE5}"/>
              </a:ext>
            </a:extLst>
          </p:cNvPr>
          <p:cNvPicPr>
            <a:picLocks noChangeAspect="1"/>
          </p:cNvPicPr>
          <p:nvPr/>
        </p:nvPicPr>
        <p:blipFill>
          <a:blip r:embed="rId13"/>
          <a:stretch>
            <a:fillRect/>
          </a:stretch>
        </p:blipFill>
        <p:spPr>
          <a:xfrm>
            <a:off x="8079457" y="2068267"/>
            <a:ext cx="2147629" cy="2147629"/>
          </a:xfrm>
          <a:prstGeom prst="rect">
            <a:avLst/>
          </a:prstGeom>
        </p:spPr>
      </p:pic>
    </p:spTree>
    <p:extLst>
      <p:ext uri="{BB962C8B-B14F-4D97-AF65-F5344CB8AC3E}">
        <p14:creationId xmlns:p14="http://schemas.microsoft.com/office/powerpoint/2010/main" val="287843580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6" progId="TCLayout.ActiveDocument.1">
                  <p:embed/>
                </p:oleObj>
              </mc:Choice>
              <mc:Fallback>
                <p:oleObj name="think-cell Slide" r:id="rId11" imgW="473" imgH="476" progId="TCLayout.ActiveDocument.1">
                  <p:embed/>
                  <p:pic>
                    <p:nvPicPr>
                      <p:cNvPr id="0" name="OLE substitute imag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DBFCC3-D204-44A1-98FA-F2D9025A08C6}"/>
              </a:ext>
            </a:extLst>
          </p:cNvPr>
          <p:cNvSpPr>
            <a:spLocks noGrp="1"/>
          </p:cNvSpPr>
          <p:nvPr>
            <p:ph type="title"/>
          </p:nvPr>
        </p:nvSpPr>
        <p:spPr>
          <a:xfrm>
            <a:off x="457232" y="238209"/>
            <a:ext cx="11082528" cy="769441"/>
          </a:xfrm>
          <a:noFill/>
          <a:extLst>
            <a:ext uri="{909E8E84-426E-40DD-AFC4-6F175D3DCCD1}">
              <a14:hiddenFill xmlns:a14="http://schemas.microsoft.com/office/drawing/2010/main">
                <a:solidFill>
                  <a:srgbClr val="FFFFFF"/>
                </a:solidFill>
              </a14:hiddenFill>
            </a:ext>
          </a:extLst>
        </p:spPr>
        <p:txBody>
          <a:bodyPr vert="horz" wrap="square" anchor="b" anchorCtr="0">
            <a:noAutofit/>
          </a:bodyPr>
          <a:lstStyle/>
          <a:p>
            <a:pPr rtl="0"/>
            <a:r>
              <a:rPr lang="zh-Hans" sz="3200" b="0" i="0" u="none" strike="noStrike">
                <a:highlight>
                  <a:srgbClr val="000000">
                    <a:alpha val="0"/>
                  </a:srgbClr>
                </a:highlight>
                <a:latin typeface="Simsun"/>
                <a:ea typeface="Simsun"/>
              </a:rPr>
              <a:t>总干事的白皮书概述了加强HEPR全球架构的解决方案</a:t>
            </a:r>
          </a:p>
        </p:txBody>
      </p:sp>
      <p:sp>
        <p:nvSpPr>
          <p:cNvPr id="53" name="TextBox 52">
            <a:extLst>
              <a:ext uri="{FF2B5EF4-FFF2-40B4-BE49-F238E27FC236}">
                <a16:creationId xmlns:a16="http://schemas.microsoft.com/office/drawing/2014/main" id="{2820F539-8302-4409-B4C7-D6D3EF7DA466}"/>
              </a:ext>
            </a:extLst>
          </p:cNvPr>
          <p:cNvSpPr txBox="1"/>
          <p:nvPr/>
        </p:nvSpPr>
        <p:spPr>
          <a:xfrm>
            <a:off x="457232" y="1383922"/>
            <a:ext cx="2858406" cy="30008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8600">
              <a:lnSpc>
                <a:spcPct val="100000"/>
              </a:lnSpc>
              <a:spcBef>
                <a:spcPct val="0"/>
              </a:spcBef>
              <a:spcAft>
                <a:spcPts val="300"/>
              </a:spcAft>
              <a:buClr>
                <a:schemeClr val="tx1"/>
              </a:buClr>
              <a:buSzPct val="110000"/>
              <a:buFont typeface="Wingdings" panose="05000000000000000000" pitchFamily="2" charset="2"/>
              <a:buChar char=""/>
              <a:defRPr lang="en-US" sz="1600"/>
            </a:lvl2pPr>
            <a:lvl3pPr marL="438912" lvl="2" indent="-210312">
              <a:lnSpc>
                <a:spcPct val="100000"/>
              </a:lnSpc>
              <a:spcBef>
                <a:spcPct val="0"/>
              </a:spcBef>
              <a:spcAft>
                <a:spcPts val="300"/>
              </a:spcAft>
              <a:buClr>
                <a:schemeClr val="tx1"/>
              </a:buClr>
              <a:buSzPct val="110000"/>
              <a:buFont typeface="Arial" panose="020B0604020202020204" pitchFamily="34" charset="0"/>
              <a:buChar char="‒"/>
              <a:defRPr lang="en-US" sz="1600"/>
            </a:lvl3pPr>
            <a:lvl4pPr marL="594360" lvl="3" indent="-155448">
              <a:lnSpc>
                <a:spcPct val="100000"/>
              </a:lnSpc>
              <a:spcBef>
                <a:spcPct val="0"/>
              </a:spcBef>
              <a:spcAft>
                <a:spcPts val="300"/>
              </a:spcAft>
              <a:buClr>
                <a:schemeClr val="tx1"/>
              </a:buClr>
              <a:buSzTx/>
              <a:buFont typeface="Arial" panose="020B0604020202020204" pitchFamily="34" charset="0"/>
              <a:buChar char="•"/>
              <a:defRPr lang="en-US" sz="1600"/>
            </a:lvl4pPr>
            <a:lvl5pPr marL="813816" lvl="4" indent="-146304">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1800"/>
              </a:spcAft>
              <a:buClr>
                <a:srgbClr val="000000"/>
              </a:buClr>
              <a:buSzTx/>
              <a:buFont typeface="Segoe UI" panose="020B0502040204020203" pitchFamily="34" charset="0"/>
              <a:buNone/>
              <a:defRPr/>
            </a:pPr>
            <a:r>
              <a:rPr kumimoji="0" lang="zh-Hans" sz="1600" b="1" i="0" u="none" strike="noStrike" kern="1200" cap="none" spc="0" normalizeH="0" baseline="0" noProof="0" dirty="0">
                <a:solidFill>
                  <a:srgbClr val="000000"/>
                </a:solidFill>
                <a:highlight>
                  <a:srgbClr val="000000">
                    <a:alpha val="0"/>
                  </a:srgbClr>
                </a:highlight>
                <a:uLnTx/>
                <a:uFillTx/>
                <a:latin typeface="Simsun"/>
                <a:ea typeface="Simsun"/>
                <a:cs typeface="Arial"/>
              </a:rPr>
              <a:t>领导力--</a:t>
            </a:r>
            <a:r>
              <a:rPr kumimoji="0" lang="zh-Hans" sz="1600" b="0" i="0" u="none" strike="noStrike" kern="1200" cap="none" spc="0" normalizeH="0" baseline="0" noProof="0" dirty="0">
                <a:solidFill>
                  <a:srgbClr val="000000"/>
                </a:solidFill>
                <a:highlight>
                  <a:srgbClr val="000000">
                    <a:alpha val="0"/>
                  </a:srgbClr>
                </a:highlight>
                <a:uLnTx/>
                <a:uFillTx/>
                <a:latin typeface="Simsun"/>
                <a:ea typeface="Simsun"/>
                <a:cs typeface="Arial"/>
              </a:rPr>
              <a:t>全球卫生突发事件理事会、世卫组织突发事件委员会</a:t>
            </a:r>
            <a:endParaRPr kumimoji="0" lang="en-GB" sz="1600" b="0" i="0" u="none"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1800"/>
              </a:spcAft>
              <a:buClr>
                <a:srgbClr val="000000"/>
              </a:buClr>
              <a:buSzTx/>
              <a:buFont typeface="Segoe UI" panose="020B0502040204020203" pitchFamily="34" charset="0"/>
              <a:buNone/>
              <a:defRPr/>
            </a:pPr>
            <a:r>
              <a:rPr kumimoji="0" lang="zh-Hans" sz="1600" b="1" i="0" u="none" strike="noStrike" kern="1200" cap="none" spc="0" normalizeH="0" baseline="0" noProof="0" dirty="0">
                <a:solidFill>
                  <a:srgbClr val="000000"/>
                </a:solidFill>
                <a:highlight>
                  <a:srgbClr val="000000">
                    <a:alpha val="0"/>
                  </a:srgbClr>
                </a:highlight>
                <a:uLnTx/>
                <a:uFillTx/>
                <a:latin typeface="Simsun"/>
                <a:ea typeface="Simsun"/>
                <a:cs typeface="Arial"/>
              </a:rPr>
              <a:t>法规</a:t>
            </a:r>
            <a:r>
              <a:rPr kumimoji="0" lang="zh-Hans" sz="1600" b="0" i="0" u="none" strike="noStrike" kern="1200" cap="none" spc="0" normalizeH="0" baseline="0" noProof="0" dirty="0">
                <a:solidFill>
                  <a:srgbClr val="000000"/>
                </a:solidFill>
                <a:highlight>
                  <a:srgbClr val="000000">
                    <a:alpha val="0"/>
                  </a:srgbClr>
                </a:highlight>
                <a:uLnTx/>
                <a:uFillTx/>
                <a:latin typeface="Simsun"/>
                <a:ea typeface="Simsun"/>
                <a:cs typeface="Arial"/>
              </a:rPr>
              <a:t>--对《国际卫生条例的针对性修正</a:t>
            </a:r>
          </a:p>
          <a:p>
            <a:pPr marL="0" marR="0" lvl="0" indent="0" algn="l" defTabSz="914400" rtl="0" eaLnBrk="1" fontAlgn="auto" latinLnBrk="0" hangingPunct="1">
              <a:lnSpc>
                <a:spcPct val="100000"/>
              </a:lnSpc>
              <a:spcBef>
                <a:spcPts val="300"/>
              </a:spcBef>
              <a:spcAft>
                <a:spcPts val="1800"/>
              </a:spcAft>
              <a:buClr>
                <a:srgbClr val="000000"/>
              </a:buClr>
              <a:buSzTx/>
              <a:buFont typeface="Segoe UI" panose="020B0502040204020203" pitchFamily="34" charset="0"/>
              <a:buNone/>
              <a:defRPr/>
            </a:pPr>
            <a:r>
              <a:rPr kumimoji="0" lang="zh-Hans" sz="1600" b="1" i="0" u="none" strike="noStrike" kern="1200" cap="none" spc="0" normalizeH="0" baseline="0" noProof="0" dirty="0">
                <a:solidFill>
                  <a:srgbClr val="000000"/>
                </a:solidFill>
                <a:highlight>
                  <a:srgbClr val="000000">
                    <a:alpha val="0"/>
                  </a:srgbClr>
                </a:highlight>
                <a:uLnTx/>
                <a:uFillTx/>
                <a:latin typeface="Simsun"/>
                <a:ea typeface="Simsun"/>
                <a:cs typeface="Arial"/>
              </a:rPr>
              <a:t>问责</a:t>
            </a:r>
            <a:r>
              <a:rPr kumimoji="0" lang="zh-Hans" sz="1600" b="0" i="0" u="none" strike="noStrike" kern="1200" cap="none" spc="0" normalizeH="0" baseline="0" noProof="0" dirty="0">
                <a:solidFill>
                  <a:srgbClr val="000000"/>
                </a:solidFill>
                <a:highlight>
                  <a:srgbClr val="000000">
                    <a:alpha val="0"/>
                  </a:srgbClr>
                </a:highlight>
                <a:uLnTx/>
                <a:uFillTx/>
                <a:latin typeface="Simsun"/>
                <a:ea typeface="Simsun"/>
                <a:cs typeface="Arial"/>
              </a:rPr>
              <a:t>--普遍卫生和准备工作审查，独立的监测机制</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70" name="Group 69">
            <a:extLst>
              <a:ext uri="{FF2B5EF4-FFF2-40B4-BE49-F238E27FC236}">
                <a16:creationId xmlns:a16="http://schemas.microsoft.com/office/drawing/2014/main" id="{3066DB5A-ED78-4D6E-BDE6-E8841B9EE09D}"/>
              </a:ext>
            </a:extLst>
          </p:cNvPr>
          <p:cNvGrpSpPr/>
          <p:nvPr/>
        </p:nvGrpSpPr>
        <p:grpSpPr>
          <a:xfrm>
            <a:off x="2165959" y="4726408"/>
            <a:ext cx="8028324" cy="445801"/>
            <a:chOff x="2407571" y="6505473"/>
            <a:chExt cx="5540937" cy="303036"/>
          </a:xfrm>
        </p:grpSpPr>
        <p:cxnSp>
          <p:nvCxnSpPr>
            <p:cNvPr id="71" name="LineSpecialityDiamond 70">
              <a:extLst>
                <a:ext uri="{FF2B5EF4-FFF2-40B4-BE49-F238E27FC236}">
                  <a16:creationId xmlns:a16="http://schemas.microsoft.com/office/drawing/2014/main" id="{10E5555D-D6CC-4539-8790-C29CC4C1C69E}"/>
                </a:ext>
              </a:extLst>
            </p:cNvPr>
            <p:cNvCxnSpPr/>
            <p:nvPr>
              <p:custDataLst>
                <p:tags r:id="rId8"/>
              </p:custDataLst>
            </p:nvPr>
          </p:nvCxnSpPr>
          <p:spPr>
            <a:xfrm flipH="1" flipV="1">
              <a:off x="4837187" y="6505473"/>
              <a:ext cx="0" cy="303036"/>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5E36584-6605-4EBD-AB8A-2A1BC0623D99}"/>
                </a:ext>
              </a:extLst>
            </p:cNvPr>
            <p:cNvCxnSpPr/>
            <p:nvPr/>
          </p:nvCxnSpPr>
          <p:spPr>
            <a:xfrm flipV="1">
              <a:off x="2407571" y="6808509"/>
              <a:ext cx="554093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9AD18895-A8E6-442C-AF23-46CB78B2F40C}"/>
              </a:ext>
            </a:extLst>
          </p:cNvPr>
          <p:cNvSpPr txBox="1"/>
          <p:nvPr/>
        </p:nvSpPr>
        <p:spPr>
          <a:xfrm>
            <a:off x="8237243" y="1253116"/>
            <a:ext cx="3725251" cy="326243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8600">
              <a:lnSpc>
                <a:spcPct val="100000"/>
              </a:lnSpc>
              <a:spcBef>
                <a:spcPct val="0"/>
              </a:spcBef>
              <a:spcAft>
                <a:spcPts val="300"/>
              </a:spcAft>
              <a:buClr>
                <a:schemeClr val="tx1"/>
              </a:buClr>
              <a:buSzPct val="110000"/>
              <a:buFont typeface="Wingdings" panose="05000000000000000000" pitchFamily="2" charset="2"/>
              <a:buChar char=""/>
              <a:defRPr lang="en-US" sz="1600"/>
            </a:lvl2pPr>
            <a:lvl3pPr marL="438912" lvl="2" indent="-210312">
              <a:lnSpc>
                <a:spcPct val="100000"/>
              </a:lnSpc>
              <a:spcBef>
                <a:spcPct val="0"/>
              </a:spcBef>
              <a:spcAft>
                <a:spcPts val="300"/>
              </a:spcAft>
              <a:buClr>
                <a:schemeClr val="tx1"/>
              </a:buClr>
              <a:buSzPct val="110000"/>
              <a:buFont typeface="Arial" panose="020B0604020202020204" pitchFamily="34" charset="0"/>
              <a:buChar char="‒"/>
              <a:defRPr lang="en-US" sz="1600"/>
            </a:lvl3pPr>
            <a:lvl4pPr marL="594360" lvl="3" indent="-155448">
              <a:lnSpc>
                <a:spcPct val="100000"/>
              </a:lnSpc>
              <a:spcBef>
                <a:spcPct val="0"/>
              </a:spcBef>
              <a:spcAft>
                <a:spcPts val="300"/>
              </a:spcAft>
              <a:buClr>
                <a:schemeClr val="tx1"/>
              </a:buClr>
              <a:buSzTx/>
              <a:buFont typeface="Arial" panose="020B0604020202020204" pitchFamily="34" charset="0"/>
              <a:buChar char="•"/>
              <a:defRPr lang="en-US" sz="1600"/>
            </a:lvl4pPr>
            <a:lvl5pPr marL="813816" lvl="4" indent="-146304">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200"/>
              </a:spcBef>
              <a:spcAft>
                <a:spcPct val="0"/>
              </a:spcAft>
              <a:buClr>
                <a:srgbClr val="000000"/>
              </a:buClr>
              <a:buSzTx/>
              <a:buFont typeface="Segoe UI" panose="020B0502040204020203" pitchFamily="34" charset="0"/>
              <a:buNone/>
              <a:defRPr/>
            </a:pPr>
            <a:r>
              <a:rPr kumimoji="0" lang="zh-Hans" sz="1600" b="1" i="0" u="none" strike="noStrike" kern="1200" cap="none" spc="0" normalizeH="0" baseline="0" noProof="0">
                <a:solidFill>
                  <a:srgbClr val="000000"/>
                </a:solidFill>
                <a:highlight>
                  <a:srgbClr val="000000">
                    <a:alpha val="0"/>
                  </a:srgbClr>
                </a:highlight>
                <a:uLnTx/>
                <a:uFillTx/>
                <a:latin typeface="Simsun"/>
                <a:ea typeface="Simsun"/>
                <a:cs typeface="Arial"/>
              </a:rPr>
              <a:t>能力建设</a:t>
            </a: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rPr>
              <a:t>：加强卫生突发事件预警和反应团队，使其具有互操作性和快速部署的能力。</a:t>
            </a:r>
          </a:p>
          <a:p>
            <a:pPr marL="0" marR="0" lvl="0" indent="0" algn="l" defTabSz="914400" rtl="0" eaLnBrk="1" fontAlgn="auto" latinLnBrk="0" hangingPunct="1">
              <a:lnSpc>
                <a:spcPct val="100000"/>
              </a:lnSpc>
              <a:spcBef>
                <a:spcPts val="1200"/>
              </a:spcBef>
              <a:spcAft>
                <a:spcPct val="0"/>
              </a:spcAft>
              <a:buClr>
                <a:srgbClr val="000000"/>
              </a:buClr>
              <a:buSzTx/>
              <a:buFont typeface="Segoe UI" panose="020B0502040204020203" pitchFamily="34" charset="0"/>
              <a:buNone/>
              <a:defRPr/>
            </a:pPr>
            <a:r>
              <a:rPr kumimoji="0" lang="zh-Hans" sz="1600" b="1" i="0" u="none" strike="noStrike" kern="1200" cap="none" spc="0" normalizeH="0" baseline="0" noProof="0">
                <a:solidFill>
                  <a:srgbClr val="000000"/>
                </a:solidFill>
                <a:highlight>
                  <a:srgbClr val="000000">
                    <a:alpha val="0"/>
                  </a:srgbClr>
                </a:highlight>
                <a:uLnTx/>
                <a:uFillTx/>
                <a:latin typeface="Simsun"/>
                <a:ea typeface="Simsun"/>
                <a:cs typeface="Arial"/>
              </a:rPr>
              <a:t>协调</a:t>
            </a:r>
            <a:r>
              <a:rPr kumimoji="0" lang="zh-Hans" sz="1600" b="0" i="0" u="none" strike="noStrike" kern="1200" cap="none" spc="0" normalizeH="0" baseline="0" noProof="0">
                <a:solidFill>
                  <a:srgbClr val="000000"/>
                </a:solidFill>
                <a:highlight>
                  <a:srgbClr val="000000">
                    <a:alpha val="0"/>
                  </a:srgbClr>
                </a:highlight>
                <a:uLnTx/>
                <a:uFillTx/>
                <a:latin typeface="Simsun"/>
                <a:ea typeface="Simsun"/>
                <a:cs typeface="Arial"/>
              </a:rPr>
              <a:t>：制定协调突发事件准备和应对所需战略、资金、行动和监测的标准化方法</a:t>
            </a:r>
          </a:p>
          <a:p>
            <a:pPr marL="0" marR="0" lvl="0" indent="0" algn="l" defTabSz="914400" rtl="0" eaLnBrk="1" fontAlgn="auto" latinLnBrk="0" hangingPunct="1">
              <a:lnSpc>
                <a:spcPct val="100000"/>
              </a:lnSpc>
              <a:spcBef>
                <a:spcPts val="1200"/>
              </a:spcBef>
              <a:spcAft>
                <a:spcPct val="0"/>
              </a:spcAft>
              <a:buClr>
                <a:srgbClr val="000000"/>
              </a:buClr>
              <a:buSzTx/>
              <a:buFont typeface="Segoe UI" panose="020B0502040204020203" pitchFamily="34" charset="0"/>
              <a:buNone/>
              <a:defRPr/>
            </a:pPr>
            <a:r>
              <a:rPr kumimoji="0" lang="zh-Hans" sz="1600" b="1" i="0" u="none" strike="noStrike" kern="1200" cap="none" spc="0" normalizeH="0" baseline="0" noProof="0">
                <a:solidFill>
                  <a:srgbClr val="000000"/>
                </a:solidFill>
                <a:highlight>
                  <a:srgbClr val="000000">
                    <a:alpha val="0"/>
                  </a:srgbClr>
                </a:highlight>
                <a:uLnTx/>
                <a:uFillTx/>
                <a:latin typeface="Simsun"/>
                <a:ea typeface="Simsun"/>
                <a:cs typeface="Arial"/>
              </a:rPr>
              <a:t>协作： </a:t>
            </a:r>
            <a:r>
              <a:rPr lang="zh-Hans" sz="1600" b="0" i="0" u="none" strike="noStrike">
                <a:solidFill>
                  <a:srgbClr val="000000"/>
                </a:solidFill>
                <a:highlight>
                  <a:srgbClr val="000000">
                    <a:alpha val="0"/>
                  </a:srgbClr>
                </a:highlight>
                <a:latin typeface="Simsun"/>
                <a:ea typeface="Simsun"/>
              </a:rPr>
              <a:t>扩大伙伴关系和加强网络，以提高协作监测、社区保护、临床护理和获得应对措施的能力</a:t>
            </a:r>
          </a:p>
        </p:txBody>
      </p:sp>
      <p:sp>
        <p:nvSpPr>
          <p:cNvPr id="79" name="TextBox 78">
            <a:extLst>
              <a:ext uri="{FF2B5EF4-FFF2-40B4-BE49-F238E27FC236}">
                <a16:creationId xmlns:a16="http://schemas.microsoft.com/office/drawing/2014/main" id="{EC950A7D-7C40-4A8C-991E-42479BC9A6B0}"/>
              </a:ext>
            </a:extLst>
          </p:cNvPr>
          <p:cNvSpPr txBox="1"/>
          <p:nvPr/>
        </p:nvSpPr>
        <p:spPr>
          <a:xfrm>
            <a:off x="2165959" y="5318144"/>
            <a:ext cx="8028326" cy="136960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Tx/>
              <a:buFont typeface="Segoe UI" panose="020B0502040204020203" pitchFamily="34" charset="0"/>
              <a:buChar char="​"/>
              <a:defRPr lang="en-US" sz="1600">
                <a:cs typeface="Arial" panose="020B0604020202020204" pitchFamily="34" charset="0"/>
              </a:defRPr>
            </a:lvl1pPr>
            <a:lvl2pPr marL="228600" lvl="1" indent="-228600">
              <a:lnSpc>
                <a:spcPct val="100000"/>
              </a:lnSpc>
              <a:spcBef>
                <a:spcPct val="0"/>
              </a:spcBef>
              <a:spcAft>
                <a:spcPts val="300"/>
              </a:spcAft>
              <a:buClr>
                <a:schemeClr val="tx1"/>
              </a:buClr>
              <a:buSzPct val="110000"/>
              <a:buFont typeface="Wingdings" panose="05000000000000000000" pitchFamily="2" charset="2"/>
              <a:buChar char=""/>
              <a:defRPr lang="en-US" sz="1600"/>
            </a:lvl2pPr>
            <a:lvl3pPr marL="438912" lvl="2" indent="-210312">
              <a:lnSpc>
                <a:spcPct val="100000"/>
              </a:lnSpc>
              <a:spcBef>
                <a:spcPct val="0"/>
              </a:spcBef>
              <a:spcAft>
                <a:spcPts val="300"/>
              </a:spcAft>
              <a:buClr>
                <a:schemeClr val="tx1"/>
              </a:buClr>
              <a:buSzPct val="110000"/>
              <a:buFont typeface="Arial" panose="020B0604020202020204" pitchFamily="34" charset="0"/>
              <a:buChar char="‒"/>
              <a:defRPr lang="en-US" sz="1600"/>
            </a:lvl3pPr>
            <a:lvl4pPr marL="594360" lvl="3" indent="-155448">
              <a:lnSpc>
                <a:spcPct val="100000"/>
              </a:lnSpc>
              <a:spcBef>
                <a:spcPct val="0"/>
              </a:spcBef>
              <a:spcAft>
                <a:spcPts val="300"/>
              </a:spcAft>
              <a:buClr>
                <a:schemeClr val="tx1"/>
              </a:buClr>
              <a:buSzTx/>
              <a:buFont typeface="Arial" panose="020B0604020202020204" pitchFamily="34" charset="0"/>
              <a:buChar char="•"/>
              <a:defRPr lang="en-US" sz="1600"/>
            </a:lvl4pPr>
            <a:lvl5pPr marL="813816" lvl="4" indent="-146304">
              <a:lnSpc>
                <a:spcPct val="100000"/>
              </a:lnSpc>
              <a:spcBef>
                <a:spcPct val="0"/>
              </a:spcBef>
              <a:spcAft>
                <a:spcPts val="300"/>
              </a:spcAft>
              <a:buClr>
                <a:schemeClr val="tx1"/>
              </a:buClr>
              <a:buSzTx/>
              <a:buFont typeface="Arial" panose="020B0604020202020204" pitchFamily="34" charset="0"/>
              <a:buChar char="̶"/>
              <a:defRPr lang="en-US" sz="1600"/>
            </a:lvl5pPr>
            <a:lvl6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1200"/>
              </a:spcAft>
              <a:buClr>
                <a:srgbClr val="000000"/>
              </a:buClr>
              <a:buSzTx/>
              <a:buFont typeface="Segoe UI" panose="020B0502040204020203" pitchFamily="34" charset="0"/>
              <a:buNone/>
              <a:defRPr/>
            </a:pPr>
            <a:r>
              <a:rPr kumimoji="0" lang="zh-Hans" sz="1600" b="1" i="0" u="none" strike="noStrike" kern="1200" cap="none" spc="0" normalizeH="0" baseline="0" noProof="0" dirty="0">
                <a:solidFill>
                  <a:srgbClr val="000000"/>
                </a:solidFill>
                <a:highlight>
                  <a:srgbClr val="000000">
                    <a:alpha val="0"/>
                  </a:srgbClr>
                </a:highlight>
                <a:uLnTx/>
                <a:uFillTx/>
                <a:latin typeface="Simsun"/>
                <a:ea typeface="Simsun"/>
                <a:cs typeface="Arial"/>
              </a:rPr>
              <a:t>可预测的突发事件准备资金--</a:t>
            </a:r>
            <a:r>
              <a:rPr kumimoji="0" lang="zh-Hans" sz="1600" b="0" i="0" u="none" strike="noStrike" kern="1200" cap="none" spc="0" normalizeH="0" baseline="0" noProof="0" dirty="0">
                <a:solidFill>
                  <a:srgbClr val="000000"/>
                </a:solidFill>
                <a:highlight>
                  <a:srgbClr val="000000">
                    <a:alpha val="0"/>
                  </a:srgbClr>
                </a:highlight>
                <a:uLnTx/>
                <a:uFillTx/>
                <a:latin typeface="Simsun"/>
                <a:ea typeface="Simsun"/>
                <a:cs typeface="Arial"/>
              </a:rPr>
              <a:t>建立协调融资平台，增加国内投资的同时动员更有效/创新的国际融资</a:t>
            </a:r>
          </a:p>
          <a:p>
            <a:pPr marL="0" marR="0" lvl="0" indent="0" algn="l" defTabSz="914400" rtl="0" eaLnBrk="1" fontAlgn="auto" latinLnBrk="0" hangingPunct="1">
              <a:lnSpc>
                <a:spcPct val="100000"/>
              </a:lnSpc>
              <a:spcBef>
                <a:spcPts val="300"/>
              </a:spcBef>
              <a:spcAft>
                <a:spcPts val="1200"/>
              </a:spcAft>
              <a:buClr>
                <a:srgbClr val="000000"/>
              </a:buClr>
              <a:buSzTx/>
              <a:buFont typeface="Segoe UI" panose="020B0502040204020203" pitchFamily="34" charset="0"/>
              <a:buNone/>
              <a:defRPr/>
            </a:pPr>
            <a:r>
              <a:rPr kumimoji="0" lang="zh-Hans" sz="1600" b="1" i="0" u="none" strike="noStrike" kern="1200" cap="none" spc="0" normalizeH="0" baseline="0" noProof="0" dirty="0">
                <a:solidFill>
                  <a:srgbClr val="000000"/>
                </a:solidFill>
                <a:highlight>
                  <a:srgbClr val="000000">
                    <a:alpha val="0"/>
                  </a:srgbClr>
                </a:highlight>
                <a:uLnTx/>
                <a:uFillTx/>
                <a:latin typeface="Simsun"/>
                <a:ea typeface="Simsun"/>
                <a:cs typeface="Arial"/>
              </a:rPr>
              <a:t>可迅速</a:t>
            </a:r>
            <a:r>
              <a:rPr lang="zh-CN" altLang="en-US" b="1" dirty="0">
                <a:solidFill>
                  <a:srgbClr val="000000"/>
                </a:solidFill>
                <a:highlight>
                  <a:srgbClr val="000000">
                    <a:alpha val="0"/>
                  </a:srgbClr>
                </a:highlight>
                <a:latin typeface="Simsun"/>
                <a:ea typeface="Simsun"/>
                <a:cs typeface="Arial"/>
              </a:rPr>
              <a:t>扩展</a:t>
            </a:r>
            <a:r>
              <a:rPr kumimoji="0" lang="zh-Hans" sz="1600" b="1" i="0" u="none" strike="noStrike" kern="1200" cap="none" spc="0" normalizeH="0" baseline="0" noProof="0" dirty="0">
                <a:solidFill>
                  <a:srgbClr val="000000"/>
                </a:solidFill>
                <a:highlight>
                  <a:srgbClr val="000000">
                    <a:alpha val="0"/>
                  </a:srgbClr>
                </a:highlight>
                <a:uLnTx/>
                <a:uFillTx/>
                <a:latin typeface="Simsun"/>
                <a:ea typeface="Simsun"/>
                <a:cs typeface="Arial"/>
              </a:rPr>
              <a:t>的应对资金--</a:t>
            </a:r>
            <a:r>
              <a:rPr kumimoji="0" lang="zh-Hans" sz="1600" b="0" i="0" u="none" strike="noStrike" kern="1200" cap="none" spc="0" normalizeH="0" baseline="0" noProof="0" dirty="0">
                <a:solidFill>
                  <a:srgbClr val="000000"/>
                </a:solidFill>
                <a:highlight>
                  <a:srgbClr val="000000">
                    <a:alpha val="0"/>
                  </a:srgbClr>
                </a:highlight>
                <a:uLnTx/>
                <a:uFillTx/>
                <a:latin typeface="Simsun"/>
                <a:ea typeface="Simsun"/>
                <a:cs typeface="Arial"/>
              </a:rPr>
              <a:t>扩大突发事件应急基金规模</a:t>
            </a:r>
          </a:p>
          <a:p>
            <a:pPr marL="0" marR="0" lvl="0" indent="0" algn="l" defTabSz="914400" rtl="0" eaLnBrk="1" fontAlgn="auto" latinLnBrk="0" hangingPunct="1">
              <a:lnSpc>
                <a:spcPct val="100000"/>
              </a:lnSpc>
              <a:spcBef>
                <a:spcPts val="300"/>
              </a:spcBef>
              <a:spcAft>
                <a:spcPts val="1200"/>
              </a:spcAft>
              <a:buClr>
                <a:srgbClr val="000000"/>
              </a:buClr>
              <a:buSzTx/>
              <a:buFont typeface="Segoe UI" panose="020B0502040204020203" pitchFamily="34" charset="0"/>
              <a:buNone/>
              <a:defRPr/>
            </a:pPr>
            <a:r>
              <a:rPr kumimoji="0" lang="zh-Hans" sz="1600" b="1" i="0" u="none" strike="noStrike" kern="1200" cap="none" spc="0" normalizeH="0" baseline="0" noProof="0" dirty="0">
                <a:solidFill>
                  <a:srgbClr val="000000"/>
                </a:solidFill>
                <a:highlight>
                  <a:srgbClr val="000000">
                    <a:alpha val="0"/>
                  </a:srgbClr>
                </a:highlight>
                <a:uLnTx/>
                <a:uFillTx/>
                <a:latin typeface="Simsun"/>
                <a:ea typeface="Simsun"/>
                <a:cs typeface="Arial"/>
              </a:rPr>
              <a:t>起到催化作用、填补空白的资金-- </a:t>
            </a:r>
            <a:r>
              <a:rPr kumimoji="0" lang="zh-Hans" sz="1600" b="0" i="0" u="none" strike="noStrike" kern="1200" cap="none" spc="0" normalizeH="0" baseline="0" noProof="0" dirty="0">
                <a:solidFill>
                  <a:srgbClr val="000000"/>
                </a:solidFill>
                <a:highlight>
                  <a:srgbClr val="000000">
                    <a:alpha val="0"/>
                  </a:srgbClr>
                </a:highlight>
                <a:uLnTx/>
                <a:uFillTx/>
                <a:latin typeface="Simsun"/>
                <a:ea typeface="Simsun"/>
                <a:cs typeface="Arial"/>
              </a:rPr>
              <a:t>通过建立一个新的金融中介基金扩大融资</a:t>
            </a:r>
            <a:endParaRPr kumimoji="0" lang="en-GB"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cxnSp>
        <p:nvCxnSpPr>
          <p:cNvPr id="82" name="LineSpecialityDiamond 70">
            <a:extLst>
              <a:ext uri="{FF2B5EF4-FFF2-40B4-BE49-F238E27FC236}">
                <a16:creationId xmlns:a16="http://schemas.microsoft.com/office/drawing/2014/main" id="{33F73EDC-2BBD-44F2-AC65-ED2D708F57DA}"/>
              </a:ext>
            </a:extLst>
          </p:cNvPr>
          <p:cNvCxnSpPr/>
          <p:nvPr>
            <p:custDataLst>
              <p:tags r:id="rId2"/>
            </p:custDataLst>
          </p:nvPr>
        </p:nvCxnSpPr>
        <p:spPr>
          <a:xfrm>
            <a:off x="3334299" y="2519162"/>
            <a:ext cx="581471"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CB12665-068F-4D48-8731-82EE7A266739}"/>
              </a:ext>
            </a:extLst>
          </p:cNvPr>
          <p:cNvCxnSpPr/>
          <p:nvPr/>
        </p:nvCxnSpPr>
        <p:spPr>
          <a:xfrm flipH="1">
            <a:off x="3334299" y="1383922"/>
            <a:ext cx="0" cy="30008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LineSpecialityDiamond 70">
            <a:extLst>
              <a:ext uri="{FF2B5EF4-FFF2-40B4-BE49-F238E27FC236}">
                <a16:creationId xmlns:a16="http://schemas.microsoft.com/office/drawing/2014/main" id="{E56249D0-4F8A-4A0B-AA9D-BC179F7B4459}"/>
              </a:ext>
            </a:extLst>
          </p:cNvPr>
          <p:cNvCxnSpPr/>
          <p:nvPr>
            <p:custDataLst>
              <p:tags r:id="rId3"/>
            </p:custDataLst>
          </p:nvPr>
        </p:nvCxnSpPr>
        <p:spPr>
          <a:xfrm flipH="1">
            <a:off x="7446205" y="2519162"/>
            <a:ext cx="672038"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C3D3641-8B6D-4B38-87FA-E8953911129D}"/>
              </a:ext>
            </a:extLst>
          </p:cNvPr>
          <p:cNvCxnSpPr/>
          <p:nvPr/>
        </p:nvCxnSpPr>
        <p:spPr>
          <a:xfrm flipH="1">
            <a:off x="8118243" y="1253116"/>
            <a:ext cx="0" cy="326243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BA1F90F8-3CD2-4324-91D7-39E872F7665F}"/>
              </a:ext>
            </a:extLst>
          </p:cNvPr>
          <p:cNvGrpSpPr/>
          <p:nvPr/>
        </p:nvGrpSpPr>
        <p:grpSpPr>
          <a:xfrm>
            <a:off x="3855108" y="1199091"/>
            <a:ext cx="3731042" cy="3572551"/>
            <a:chOff x="3917197" y="1199091"/>
            <a:chExt cx="3731042" cy="3572551"/>
          </a:xfrm>
        </p:grpSpPr>
        <p:grpSp>
          <p:nvGrpSpPr>
            <p:cNvPr id="110" name="Group 109">
              <a:extLst>
                <a:ext uri="{FF2B5EF4-FFF2-40B4-BE49-F238E27FC236}">
                  <a16:creationId xmlns:a16="http://schemas.microsoft.com/office/drawing/2014/main" id="{7C879D45-0793-4F23-A4AB-F8F09A261383}"/>
                </a:ext>
              </a:extLst>
            </p:cNvPr>
            <p:cNvGrpSpPr/>
            <p:nvPr/>
          </p:nvGrpSpPr>
          <p:grpSpPr>
            <a:xfrm rot="14286634">
              <a:off x="4143542" y="1200073"/>
              <a:ext cx="3505680" cy="3503715"/>
              <a:chOff x="3040753" y="2485999"/>
              <a:chExt cx="2827336" cy="2825751"/>
            </a:xfrm>
            <a:solidFill>
              <a:srgbClr val="FFFFFF"/>
            </a:solidFill>
          </p:grpSpPr>
          <p:sp>
            <p:nvSpPr>
              <p:cNvPr id="112" name="Freeform 5">
                <a:extLst>
                  <a:ext uri="{FF2B5EF4-FFF2-40B4-BE49-F238E27FC236}">
                    <a16:creationId xmlns:a16="http://schemas.microsoft.com/office/drawing/2014/main" id="{C9C6CF49-8FB8-44C1-A297-5BD0C29EE268}"/>
                  </a:ext>
                </a:extLst>
              </p:cNvPr>
              <p:cNvSpPr/>
              <p:nvPr/>
            </p:nvSpPr>
            <p:spPr bwMode="auto">
              <a:xfrm>
                <a:off x="4548876" y="2485999"/>
                <a:ext cx="1319213" cy="1979613"/>
              </a:xfrm>
              <a:custGeom>
                <a:avLst/>
                <a:gdLst>
                  <a:gd name="T0" fmla="*/ 0 w 13842"/>
                  <a:gd name="T1" fmla="*/ 0 h 20763"/>
                  <a:gd name="T2" fmla="*/ 13842 w 13842"/>
                  <a:gd name="T3" fmla="*/ 13842 h 20763"/>
                  <a:gd name="T4" fmla="*/ 11988 w 13842"/>
                  <a:gd name="T5" fmla="*/ 20763 h 20763"/>
                  <a:gd name="T6" fmla="*/ 5994 w 13842"/>
                  <a:gd name="T7" fmla="*/ 17303 h 20763"/>
                  <a:gd name="T8" fmla="*/ 3461 w 13842"/>
                  <a:gd name="T9" fmla="*/ 7849 h 20763"/>
                  <a:gd name="T10" fmla="*/ 0 w 13842"/>
                  <a:gd name="T11" fmla="*/ 6921 h 20763"/>
                  <a:gd name="T12" fmla="*/ 0 w 13842"/>
                  <a:gd name="T13" fmla="*/ 0 h 20763"/>
                </a:gdLst>
                <a:ahLst/>
                <a:cxnLst>
                  <a:cxn ang="0">
                    <a:pos x="T0" y="T1"/>
                  </a:cxn>
                  <a:cxn ang="0">
                    <a:pos x="T2" y="T3"/>
                  </a:cxn>
                  <a:cxn ang="0">
                    <a:pos x="T4" y="T5"/>
                  </a:cxn>
                  <a:cxn ang="0">
                    <a:pos x="T6" y="T7"/>
                  </a:cxn>
                  <a:cxn ang="0">
                    <a:pos x="T8" y="T9"/>
                  </a:cxn>
                  <a:cxn ang="0">
                    <a:pos x="T10" y="T11"/>
                  </a:cxn>
                  <a:cxn ang="0">
                    <a:pos x="T12" y="T13"/>
                  </a:cxn>
                </a:cxnLst>
                <a:rect l="0" t="0" r="r" b="b"/>
                <a:pathLst>
                  <a:path w="13842" h="20763">
                    <a:moveTo>
                      <a:pt x="0" y="0"/>
                    </a:moveTo>
                    <a:cubicBezTo>
                      <a:pt x="7645" y="0"/>
                      <a:pt x="13842" y="6198"/>
                      <a:pt x="13842" y="13842"/>
                    </a:cubicBezTo>
                    <a:cubicBezTo>
                      <a:pt x="13842" y="16272"/>
                      <a:pt x="13203" y="18659"/>
                      <a:pt x="11988" y="20763"/>
                    </a:cubicBezTo>
                    <a:lnTo>
                      <a:pt x="5994" y="17303"/>
                    </a:lnTo>
                    <a:cubicBezTo>
                      <a:pt x="7905" y="13992"/>
                      <a:pt x="6771" y="9760"/>
                      <a:pt x="3461" y="7849"/>
                    </a:cubicBezTo>
                    <a:cubicBezTo>
                      <a:pt x="2409" y="7241"/>
                      <a:pt x="1215" y="6921"/>
                      <a:pt x="0" y="6921"/>
                    </a:cubicBezTo>
                    <a:lnTo>
                      <a:pt x="0" y="0"/>
                    </a:lnTo>
                    <a:close/>
                  </a:path>
                </a:pathLst>
              </a:custGeom>
              <a:grpFill/>
              <a:ln w="38100" cap="flat" cmpd="sng" algn="ctr">
                <a:gradFill>
                  <a:gsLst>
                    <a:gs pos="0">
                      <a:srgbClr val="04A4EC"/>
                    </a:gs>
                    <a:gs pos="100000">
                      <a:srgbClr val="000000"/>
                    </a:gs>
                  </a:gsLst>
                </a:gradFill>
                <a:prstDash val="solid"/>
                <a:round/>
                <a:headEnd type="none" w="med" len="med"/>
                <a:tailEnd type="none" w="med" len="med"/>
              </a:ln>
            </p:spPr>
            <p:txBody>
              <a:bodyPr vert="horz" wrap="square" lIns="182880" tIns="91440" rIns="182880" bIns="9144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113" name="Freeform 6">
                <a:extLst>
                  <a:ext uri="{FF2B5EF4-FFF2-40B4-BE49-F238E27FC236}">
                    <a16:creationId xmlns:a16="http://schemas.microsoft.com/office/drawing/2014/main" id="{E3DE198B-86DE-44B0-AC33-CF39591F422C}"/>
                  </a:ext>
                </a:extLst>
              </p:cNvPr>
              <p:cNvSpPr/>
              <p:nvPr/>
            </p:nvSpPr>
            <p:spPr bwMode="auto">
              <a:xfrm>
                <a:off x="3405876" y="4135412"/>
                <a:ext cx="2284413" cy="1176338"/>
              </a:xfrm>
              <a:custGeom>
                <a:avLst/>
                <a:gdLst>
                  <a:gd name="T0" fmla="*/ 23975 w 23975"/>
                  <a:gd name="T1" fmla="*/ 3460 h 12349"/>
                  <a:gd name="T2" fmla="*/ 5067 w 23975"/>
                  <a:gd name="T3" fmla="*/ 8526 h 12349"/>
                  <a:gd name="T4" fmla="*/ 0 w 23975"/>
                  <a:gd name="T5" fmla="*/ 3460 h 12349"/>
                  <a:gd name="T6" fmla="*/ 5994 w 23975"/>
                  <a:gd name="T7" fmla="*/ 0 h 12349"/>
                  <a:gd name="T8" fmla="*/ 15448 w 23975"/>
                  <a:gd name="T9" fmla="*/ 2533 h 12349"/>
                  <a:gd name="T10" fmla="*/ 17981 w 23975"/>
                  <a:gd name="T11" fmla="*/ 0 h 12349"/>
                  <a:gd name="T12" fmla="*/ 23975 w 23975"/>
                  <a:gd name="T13" fmla="*/ 3460 h 12349"/>
                </a:gdLst>
                <a:ahLst/>
                <a:cxnLst>
                  <a:cxn ang="0">
                    <a:pos x="T0" y="T1"/>
                  </a:cxn>
                  <a:cxn ang="0">
                    <a:pos x="T2" y="T3"/>
                  </a:cxn>
                  <a:cxn ang="0">
                    <a:pos x="T4" y="T5"/>
                  </a:cxn>
                  <a:cxn ang="0">
                    <a:pos x="T6" y="T7"/>
                  </a:cxn>
                  <a:cxn ang="0">
                    <a:pos x="T8" y="T9"/>
                  </a:cxn>
                  <a:cxn ang="0">
                    <a:pos x="T10" y="T11"/>
                  </a:cxn>
                  <a:cxn ang="0">
                    <a:pos x="T12" y="T13"/>
                  </a:cxn>
                </a:cxnLst>
                <a:rect l="0" t="0" r="r" b="b"/>
                <a:pathLst>
                  <a:path w="23975" h="12349">
                    <a:moveTo>
                      <a:pt x="23975" y="3460"/>
                    </a:moveTo>
                    <a:cubicBezTo>
                      <a:pt x="20152" y="10080"/>
                      <a:pt x="11687" y="12349"/>
                      <a:pt x="5067" y="8526"/>
                    </a:cubicBezTo>
                    <a:cubicBezTo>
                      <a:pt x="2962" y="7312"/>
                      <a:pt x="1215" y="5564"/>
                      <a:pt x="0" y="3460"/>
                    </a:cubicBezTo>
                    <a:lnTo>
                      <a:pt x="5994" y="0"/>
                    </a:lnTo>
                    <a:cubicBezTo>
                      <a:pt x="7905" y="3310"/>
                      <a:pt x="12138" y="4444"/>
                      <a:pt x="15448" y="2533"/>
                    </a:cubicBezTo>
                    <a:cubicBezTo>
                      <a:pt x="16500" y="1925"/>
                      <a:pt x="17374" y="1052"/>
                      <a:pt x="17981" y="0"/>
                    </a:cubicBezTo>
                    <a:lnTo>
                      <a:pt x="23975" y="3460"/>
                    </a:lnTo>
                    <a:close/>
                  </a:path>
                </a:pathLst>
              </a:custGeom>
              <a:grpFill/>
              <a:ln w="38100" cap="flat" cmpd="sng" algn="ctr">
                <a:gradFill>
                  <a:gsLst>
                    <a:gs pos="0">
                      <a:srgbClr val="04A4EC"/>
                    </a:gs>
                    <a:gs pos="100000">
                      <a:srgbClr val="000000"/>
                    </a:gs>
                  </a:gsLst>
                </a:gradFill>
                <a:prstDash val="solid"/>
                <a:round/>
                <a:headEnd type="none" w="med" len="med"/>
                <a:tailEnd type="none" w="med" len="med"/>
              </a:ln>
            </p:spPr>
            <p:txBody>
              <a:bodyPr vert="horz" wrap="square" lIns="182880" tIns="91440" rIns="182880" bIns="9144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4" name="Freeform 7">
                <a:extLst>
                  <a:ext uri="{FF2B5EF4-FFF2-40B4-BE49-F238E27FC236}">
                    <a16:creationId xmlns:a16="http://schemas.microsoft.com/office/drawing/2014/main" id="{7ABEECB2-9C37-4BF3-A320-0B1E48059486}"/>
                  </a:ext>
                </a:extLst>
              </p:cNvPr>
              <p:cNvSpPr>
                <a:spLocks noChangeAspect="1"/>
              </p:cNvSpPr>
              <p:nvPr/>
            </p:nvSpPr>
            <p:spPr bwMode="auto">
              <a:xfrm>
                <a:off x="3040753" y="2486000"/>
                <a:ext cx="1508125" cy="1979613"/>
              </a:xfrm>
              <a:custGeom>
                <a:avLst/>
                <a:gdLst>
                  <a:gd name="T0" fmla="*/ 3822 w 15809"/>
                  <a:gd name="T1" fmla="*/ 20763 h 20763"/>
                  <a:gd name="T2" fmla="*/ 8889 w 15809"/>
                  <a:gd name="T3" fmla="*/ 1855 h 20763"/>
                  <a:gd name="T4" fmla="*/ 15809 w 15809"/>
                  <a:gd name="T5" fmla="*/ 0 h 20763"/>
                  <a:gd name="T6" fmla="*/ 15809 w 15809"/>
                  <a:gd name="T7" fmla="*/ 6921 h 20763"/>
                  <a:gd name="T8" fmla="*/ 8889 w 15809"/>
                  <a:gd name="T9" fmla="*/ 13842 h 20763"/>
                  <a:gd name="T10" fmla="*/ 9816 w 15809"/>
                  <a:gd name="T11" fmla="*/ 17303 h 20763"/>
                  <a:gd name="T12" fmla="*/ 3822 w 15809"/>
                  <a:gd name="T13" fmla="*/ 20763 h 20763"/>
                </a:gdLst>
                <a:ahLst/>
                <a:cxnLst>
                  <a:cxn ang="0">
                    <a:pos x="T0" y="T1"/>
                  </a:cxn>
                  <a:cxn ang="0">
                    <a:pos x="T2" y="T3"/>
                  </a:cxn>
                  <a:cxn ang="0">
                    <a:pos x="T4" y="T5"/>
                  </a:cxn>
                  <a:cxn ang="0">
                    <a:pos x="T6" y="T7"/>
                  </a:cxn>
                  <a:cxn ang="0">
                    <a:pos x="T8" y="T9"/>
                  </a:cxn>
                  <a:cxn ang="0">
                    <a:pos x="T10" y="T11"/>
                  </a:cxn>
                  <a:cxn ang="0">
                    <a:pos x="T12" y="T13"/>
                  </a:cxn>
                </a:cxnLst>
                <a:rect l="0" t="0" r="r" b="b"/>
                <a:pathLst>
                  <a:path w="15809" h="20763">
                    <a:moveTo>
                      <a:pt x="3822" y="20763"/>
                    </a:moveTo>
                    <a:cubicBezTo>
                      <a:pt x="0" y="14143"/>
                      <a:pt x="2268" y="5677"/>
                      <a:pt x="8889" y="1855"/>
                    </a:cubicBezTo>
                    <a:cubicBezTo>
                      <a:pt x="10993" y="640"/>
                      <a:pt x="13380" y="0"/>
                      <a:pt x="15809" y="0"/>
                    </a:cubicBezTo>
                    <a:lnTo>
                      <a:pt x="15809" y="6921"/>
                    </a:lnTo>
                    <a:cubicBezTo>
                      <a:pt x="11987" y="6921"/>
                      <a:pt x="8889" y="10020"/>
                      <a:pt x="8889" y="13842"/>
                    </a:cubicBezTo>
                    <a:cubicBezTo>
                      <a:pt x="8889" y="15057"/>
                      <a:pt x="9208" y="16250"/>
                      <a:pt x="9816" y="17303"/>
                    </a:cubicBezTo>
                    <a:lnTo>
                      <a:pt x="3822" y="20763"/>
                    </a:lnTo>
                    <a:close/>
                  </a:path>
                </a:pathLst>
              </a:custGeom>
              <a:grpFill/>
              <a:ln w="38100" cap="flat" cmpd="sng" algn="ctr">
                <a:gradFill>
                  <a:gsLst>
                    <a:gs pos="0">
                      <a:srgbClr val="04A4EC"/>
                    </a:gs>
                    <a:gs pos="100000">
                      <a:srgbClr val="000000"/>
                    </a:gs>
                  </a:gsLst>
                  <a:lin ang="5400000" scaled="1"/>
                </a:gradFill>
                <a:prstDash val="solid"/>
                <a:round/>
                <a:headEnd type="none" w="med" len="med"/>
                <a:tailEnd type="none" w="med" len="med"/>
              </a:ln>
            </p:spPr>
            <p:txBody>
              <a:bodyPr vert="horz" wrap="square" lIns="182880" tIns="91440" rIns="182880" bIns="9144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A29CB53D-FBDC-4CC2-9D38-D260066CFEAB}"/>
                </a:ext>
              </a:extLst>
            </p:cNvPr>
            <p:cNvGrpSpPr/>
            <p:nvPr/>
          </p:nvGrpSpPr>
          <p:grpSpPr>
            <a:xfrm>
              <a:off x="3917197" y="1208888"/>
              <a:ext cx="3682104" cy="3562754"/>
              <a:chOff x="3917197" y="1208888"/>
              <a:chExt cx="3682104" cy="3562754"/>
            </a:xfrm>
          </p:grpSpPr>
          <p:sp>
            <p:nvSpPr>
              <p:cNvPr id="97" name="Rectangle 8">
                <a:extLst>
                  <a:ext uri="{FF2B5EF4-FFF2-40B4-BE49-F238E27FC236}">
                    <a16:creationId xmlns:a16="http://schemas.microsoft.com/office/drawing/2014/main" id="{2172C79B-34D2-4A14-AEEF-BD437ED47AF3}"/>
                  </a:ext>
                </a:extLst>
              </p:cNvPr>
              <p:cNvSpPr>
                <a:spLocks noChangeArrowheads="1"/>
              </p:cNvSpPr>
              <p:nvPr>
                <p:custDataLst>
                  <p:tags r:id="rId4"/>
                </p:custDataLst>
              </p:nvPr>
            </p:nvSpPr>
            <p:spPr bwMode="gray">
              <a:xfrm rot="10800000">
                <a:off x="3917197" y="1208888"/>
                <a:ext cx="3682104" cy="3562754"/>
              </a:xfrm>
              <a:prstGeom prst="rect">
                <a:avLst/>
              </a:prstGeom>
            </p:spPr>
            <p:txBody>
              <a:bodyPr wrap="none" lIns="0" tIns="0" rIns="0" bIns="0" anchor="ctr">
                <a:prstTxWarp prst="textArchDown">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2000" b="1" i="0" u="none" strike="noStrike" kern="0" cap="small" spc="0" normalizeH="0" baseline="0" noProof="0">
                  <a:ln>
                    <a:noFill/>
                  </a:ln>
                  <a:solidFill>
                    <a:srgbClr val="000000"/>
                  </a:solidFill>
                  <a:effectLst/>
                  <a:uLnTx/>
                  <a:uFillTx/>
                  <a:latin typeface="Calibri"/>
                  <a:ea typeface="+mn-ea"/>
                  <a:cs typeface="+mn-cs"/>
                  <a:sym typeface="Trebuchet MS" panose="020B0603020202020204" pitchFamily="34" charset="0"/>
                </a:endParaRPr>
              </a:p>
            </p:txBody>
          </p:sp>
          <p:sp>
            <p:nvSpPr>
              <p:cNvPr id="102" name="Oval 101">
                <a:extLst>
                  <a:ext uri="{FF2B5EF4-FFF2-40B4-BE49-F238E27FC236}">
                    <a16:creationId xmlns:a16="http://schemas.microsoft.com/office/drawing/2014/main" id="{77978686-1610-4471-B16E-6FB15A4FB934}"/>
                  </a:ext>
                </a:extLst>
              </p:cNvPr>
              <p:cNvSpPr>
                <a:spLocks noChangeAspect="1"/>
              </p:cNvSpPr>
              <p:nvPr/>
            </p:nvSpPr>
            <p:spPr>
              <a:xfrm rot="10800000">
                <a:off x="4941733" y="2120400"/>
                <a:ext cx="1585440" cy="1585441"/>
              </a:xfrm>
              <a:prstGeom prst="ellipse">
                <a:avLst/>
              </a:prstGeom>
              <a:solidFill>
                <a:schemeClr val="accent1">
                  <a:lumMod val="10000"/>
                  <a:lumOff val="90000"/>
                  <a:alpha val="34000"/>
                </a:schemeClr>
              </a:solidFill>
              <a:ln w="10795"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3" name="TextBox 102">
                <a:extLst>
                  <a:ext uri="{FF2B5EF4-FFF2-40B4-BE49-F238E27FC236}">
                    <a16:creationId xmlns:a16="http://schemas.microsoft.com/office/drawing/2014/main" id="{85798E9A-8825-4D10-8246-CA4281B3C229}"/>
                  </a:ext>
                </a:extLst>
              </p:cNvPr>
              <p:cNvSpPr txBox="1"/>
              <p:nvPr/>
            </p:nvSpPr>
            <p:spPr>
              <a:xfrm>
                <a:off x="4771216" y="2339279"/>
                <a:ext cx="1931888" cy="113378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600"/>
                  </a:spcAft>
                  <a:buClrTx/>
                  <a:buSzTx/>
                  <a:buFontTx/>
                  <a:buNone/>
                  <a:defRPr/>
                </a:pPr>
                <a:r>
                  <a:rPr kumimoji="0" lang="zh-Hans" sz="2000" b="0" i="0" u="none" strike="noStrike" kern="1200" cap="none" spc="0" normalizeH="0" baseline="0" noProof="0">
                    <a:solidFill>
                      <a:srgbClr val="000000"/>
                    </a:solidFill>
                    <a:highlight>
                      <a:srgbClr val="000000">
                        <a:alpha val="0"/>
                      </a:srgbClr>
                    </a:highlight>
                    <a:uLnTx/>
                    <a:uFillTx/>
                    <a:latin typeface="Simsun"/>
                    <a:ea typeface="Simsun"/>
                    <a:cs typeface="+mn-cs"/>
                  </a:rPr>
                  <a:t>股权</a:t>
                </a:r>
              </a:p>
              <a:p>
                <a:pPr marL="0" marR="0" lvl="0" indent="0" algn="ctr" defTabSz="914400" rtl="0" eaLnBrk="1" fontAlgn="auto" latinLnBrk="0" hangingPunct="1">
                  <a:lnSpc>
                    <a:spcPct val="100000"/>
                  </a:lnSpc>
                  <a:spcBef>
                    <a:spcPct val="0"/>
                  </a:spcBef>
                  <a:spcAft>
                    <a:spcPts val="600"/>
                  </a:spcAft>
                  <a:buClrTx/>
                  <a:buSzTx/>
                  <a:buFontTx/>
                  <a:buNone/>
                  <a:defRPr/>
                </a:pPr>
                <a:r>
                  <a:rPr kumimoji="0" lang="zh-Hans" sz="2000" b="0" i="0" u="none" strike="noStrike" kern="1200" cap="none" spc="0" normalizeH="0" baseline="0" noProof="0">
                    <a:solidFill>
                      <a:srgbClr val="000000"/>
                    </a:solidFill>
                    <a:highlight>
                      <a:srgbClr val="000000">
                        <a:alpha val="0"/>
                      </a:srgbClr>
                    </a:highlight>
                    <a:uLnTx/>
                    <a:uFillTx/>
                    <a:latin typeface="Simsun"/>
                    <a:ea typeface="Simsun"/>
                    <a:cs typeface="+mn-cs"/>
                  </a:rPr>
                  <a:t>包容性</a:t>
                </a:r>
              </a:p>
              <a:p>
                <a:pPr marL="0" marR="0" lvl="0" indent="0" algn="ctr" defTabSz="914400" rtl="0" eaLnBrk="1" fontAlgn="auto" latinLnBrk="0" hangingPunct="1">
                  <a:lnSpc>
                    <a:spcPct val="100000"/>
                  </a:lnSpc>
                  <a:spcBef>
                    <a:spcPct val="0"/>
                  </a:spcBef>
                  <a:spcAft>
                    <a:spcPts val="600"/>
                  </a:spcAft>
                  <a:buClrTx/>
                  <a:buSzTx/>
                  <a:buFontTx/>
                  <a:buNone/>
                  <a:defRPr/>
                </a:pPr>
                <a:r>
                  <a:rPr kumimoji="0" lang="zh-Hans" sz="2000" b="0" i="0" u="none" strike="noStrike" kern="1200" cap="none" spc="0" normalizeH="0" baseline="0" noProof="0">
                    <a:solidFill>
                      <a:srgbClr val="000000"/>
                    </a:solidFill>
                    <a:highlight>
                      <a:srgbClr val="000000">
                        <a:alpha val="0"/>
                      </a:srgbClr>
                    </a:highlight>
                    <a:uLnTx/>
                    <a:uFillTx/>
                    <a:latin typeface="Simsun"/>
                    <a:ea typeface="Simsun"/>
                    <a:cs typeface="+mn-cs"/>
                  </a:rPr>
                  <a:t>一致性</a:t>
                </a:r>
              </a:p>
            </p:txBody>
          </p:sp>
          <p:sp>
            <p:nvSpPr>
              <p:cNvPr id="106" name="Rectangle 8">
                <a:extLst>
                  <a:ext uri="{FF2B5EF4-FFF2-40B4-BE49-F238E27FC236}">
                    <a16:creationId xmlns:a16="http://schemas.microsoft.com/office/drawing/2014/main" id="{6FDB5726-5665-4DBF-86DC-5F3DC5ADF0DE}"/>
                  </a:ext>
                </a:extLst>
              </p:cNvPr>
              <p:cNvSpPr>
                <a:spLocks noChangeArrowheads="1"/>
              </p:cNvSpPr>
              <p:nvPr>
                <p:custDataLst>
                  <p:tags r:id="rId5"/>
                </p:custDataLst>
              </p:nvPr>
            </p:nvSpPr>
            <p:spPr bwMode="gray">
              <a:xfrm rot="17648114">
                <a:off x="4518732" y="1758078"/>
                <a:ext cx="2062020" cy="1992891"/>
              </a:xfrm>
              <a:prstGeom prst="rect">
                <a:avLst/>
              </a:prstGeom>
            </p:spPr>
            <p:txBody>
              <a:bodyPr wrap="none" lIns="0" tIns="0" rIns="0" bIns="0" anchor="ctr">
                <a:prstTxWarp prst="textArchUp">
                  <a:avLst>
                    <a:gd name="adj" fmla="val 12908190"/>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2800" b="0" i="0" u="none" strike="noStrike" kern="1200" cap="none" spc="0" normalizeH="0" baseline="0" noProof="0">
                    <a:solidFill>
                      <a:srgbClr val="000000"/>
                    </a:solidFill>
                    <a:highlight>
                      <a:srgbClr val="000000">
                        <a:alpha val="0"/>
                      </a:srgbClr>
                    </a:highlight>
                    <a:uLnTx/>
                    <a:uFillTx/>
                    <a:latin typeface="Simsun"/>
                    <a:ea typeface="Simsun"/>
                    <a:cs typeface="+mn-cs"/>
                    <a:sym typeface="Trebuchet MS"/>
                  </a:rPr>
                  <a:t>治理</a:t>
                </a:r>
              </a:p>
            </p:txBody>
          </p:sp>
          <p:sp>
            <p:nvSpPr>
              <p:cNvPr id="107" name="Rectangle 8">
                <a:extLst>
                  <a:ext uri="{FF2B5EF4-FFF2-40B4-BE49-F238E27FC236}">
                    <a16:creationId xmlns:a16="http://schemas.microsoft.com/office/drawing/2014/main" id="{2812F017-C4FA-444F-933A-2169DC585DC0}"/>
                  </a:ext>
                </a:extLst>
              </p:cNvPr>
              <p:cNvSpPr>
                <a:spLocks noChangeArrowheads="1"/>
              </p:cNvSpPr>
              <p:nvPr>
                <p:custDataLst>
                  <p:tags r:id="rId6"/>
                </p:custDataLst>
              </p:nvPr>
            </p:nvSpPr>
            <p:spPr bwMode="gray">
              <a:xfrm rot="3833604">
                <a:off x="5728725" y="2063516"/>
                <a:ext cx="1292282" cy="1014870"/>
              </a:xfrm>
              <a:prstGeom prst="rect">
                <a:avLst/>
              </a:prstGeom>
              <a:noFill/>
            </p:spPr>
            <p:txBody>
              <a:bodyPr wrap="none" lIns="0" tIns="0" rIns="0" bIns="0" anchor="ctr">
                <a:prstTxWarp prst="textArchUp">
                  <a:avLst>
                    <a:gd name="adj" fmla="val 8237637"/>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2800" b="0" i="0" u="none" strike="noStrike" kern="0" cap="none" spc="0" normalizeH="0" baseline="0" noProof="0">
                    <a:solidFill>
                      <a:srgbClr val="000000"/>
                    </a:solidFill>
                    <a:highlight>
                      <a:srgbClr val="000000">
                        <a:alpha val="0"/>
                      </a:srgbClr>
                    </a:highlight>
                    <a:uLnTx/>
                    <a:uFillTx/>
                    <a:latin typeface="Simsun"/>
                    <a:ea typeface="Simsun"/>
                    <a:cs typeface="+mn-cs"/>
                    <a:sym typeface="Trebuchet MS"/>
                  </a:rPr>
                  <a:t>系统</a:t>
                </a:r>
              </a:p>
            </p:txBody>
          </p:sp>
          <p:sp>
            <p:nvSpPr>
              <p:cNvPr id="111" name="Rectangle 9">
                <a:extLst>
                  <a:ext uri="{FF2B5EF4-FFF2-40B4-BE49-F238E27FC236}">
                    <a16:creationId xmlns:a16="http://schemas.microsoft.com/office/drawing/2014/main" id="{E1204AC7-2F03-48D9-A87C-FB5CAC14C128}"/>
                  </a:ext>
                </a:extLst>
              </p:cNvPr>
              <p:cNvSpPr>
                <a:spLocks noChangeArrowheads="1"/>
              </p:cNvSpPr>
              <p:nvPr>
                <p:custDataLst>
                  <p:tags r:id="rId7"/>
                </p:custDataLst>
              </p:nvPr>
            </p:nvSpPr>
            <p:spPr bwMode="gray">
              <a:xfrm>
                <a:off x="4945906" y="3428333"/>
                <a:ext cx="1613391" cy="824777"/>
              </a:xfrm>
              <a:prstGeom prst="rect">
                <a:avLst/>
              </a:prstGeom>
              <a:noFill/>
              <a:ln w="9525" cap="flat" cmpd="sng" algn="ctr">
                <a:noFill/>
                <a:prstDash val="solid"/>
                <a:round/>
                <a:headEnd type="none" w="med" len="med"/>
                <a:tailEnd type="none" w="med" len="med"/>
              </a:ln>
            </p:spPr>
            <p:txBody>
              <a:bodyPr wrap="none" lIns="0" tIns="0" rIns="0" bIns="0" anchor="ctr">
                <a:prstTxWarp prst="textArchDown">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Hans" sz="2800" b="0" i="0" u="none" strike="noStrike" kern="0" cap="none" spc="0" normalizeH="0" baseline="0" noProof="0">
                    <a:solidFill>
                      <a:srgbClr val="000000"/>
                    </a:solidFill>
                    <a:highlight>
                      <a:srgbClr val="000000">
                        <a:alpha val="0"/>
                      </a:srgbClr>
                    </a:highlight>
                    <a:uLnTx/>
                    <a:uFillTx/>
                    <a:latin typeface="Simsun"/>
                    <a:ea typeface="Simsun"/>
                    <a:cs typeface="+mn-cs"/>
                    <a:sym typeface="Trebuchet MS"/>
                  </a:rPr>
                  <a:t>融资</a:t>
                </a:r>
              </a:p>
            </p:txBody>
          </p:sp>
        </p:grpSp>
      </p:grpSp>
      <p:sp>
        <p:nvSpPr>
          <p:cNvPr id="4" name="Oval 3">
            <a:extLst>
              <a:ext uri="{FF2B5EF4-FFF2-40B4-BE49-F238E27FC236}">
                <a16:creationId xmlns:a16="http://schemas.microsoft.com/office/drawing/2014/main" id="{0BDA5368-DC99-4FFF-8F8D-8D6259ECBC05}"/>
              </a:ext>
            </a:extLst>
          </p:cNvPr>
          <p:cNvSpPr/>
          <p:nvPr/>
        </p:nvSpPr>
        <p:spPr>
          <a:xfrm>
            <a:off x="3668309" y="904532"/>
            <a:ext cx="4023360" cy="4023360"/>
          </a:xfrm>
          <a:prstGeom prst="ellipse">
            <a:avLst/>
          </a:prstGeom>
          <a:grpFill/>
          <a:ln w="38100" cap="flat" cmpd="sng" algn="ctr">
            <a:solidFill>
              <a:schemeClr val="bg1">
                <a:lumMod val="75000"/>
              </a:schemeClr>
            </a:solidFill>
            <a:prstDash val="solid"/>
            <a:round/>
            <a:headEnd type="none" w="med" len="med"/>
            <a:tailEnd type="none" w="med" len="med"/>
          </a:ln>
        </p:spPr>
        <p:txBody>
          <a:bodyPr vert="horz" wrap="square" lIns="182880" tIns="91440" rIns="182880" bIns="91440" numCol="1" anchor="t"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err="1">
              <a:ln>
                <a:noFill/>
              </a:ln>
              <a:solidFill>
                <a:srgbClr val="000000"/>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70040938-7FF5-46AE-96F2-C9DAFCB89AFC}"/>
              </a:ext>
            </a:extLst>
          </p:cNvPr>
          <p:cNvSpPr/>
          <p:nvPr/>
        </p:nvSpPr>
        <p:spPr>
          <a:xfrm>
            <a:off x="4627399" y="842907"/>
            <a:ext cx="1983069" cy="377229"/>
          </a:xfrm>
          <a:prstGeom prst="roundRect">
            <a:avLst/>
          </a:prstGeom>
          <a:solidFill>
            <a:schemeClr val="accent1">
              <a:lumMod val="10000"/>
              <a:lumOff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2060"/>
                </a:solidFill>
                <a:highlight>
                  <a:srgbClr val="000000">
                    <a:alpha val="0"/>
                  </a:srgbClr>
                </a:highlight>
                <a:uLnTx/>
                <a:uFillTx/>
                <a:latin typeface="Simsun"/>
                <a:ea typeface="Simsun"/>
                <a:cs typeface="+mn-cs"/>
              </a:rPr>
              <a:t>大流行病协议</a:t>
            </a:r>
          </a:p>
        </p:txBody>
      </p:sp>
      <p:sp>
        <p:nvSpPr>
          <p:cNvPr id="3" name="Rectangle: Rounded Corners 2">
            <a:extLst>
              <a:ext uri="{FF2B5EF4-FFF2-40B4-BE49-F238E27FC236}">
                <a16:creationId xmlns:a16="http://schemas.microsoft.com/office/drawing/2014/main" id="{FFF8882E-CC4E-4D8B-2945-41A6AD6AB6BE}"/>
              </a:ext>
            </a:extLst>
          </p:cNvPr>
          <p:cNvSpPr/>
          <p:nvPr/>
        </p:nvSpPr>
        <p:spPr>
          <a:xfrm>
            <a:off x="1711377" y="4959245"/>
            <a:ext cx="8606852" cy="1823803"/>
          </a:xfrm>
          <a:prstGeom prst="roundRect">
            <a:avLst/>
          </a:prstGeom>
          <a:noFill/>
        </p:spPr>
        <p:style>
          <a:lnRef idx="2">
            <a:schemeClr val="accent2"/>
          </a:lnRef>
          <a:fillRef idx="1">
            <a:schemeClr val="lt1"/>
          </a:fillRef>
          <a:effectRef idx="0">
            <a:schemeClr val="accent2"/>
          </a:effectRef>
          <a:fontRef idx="minor">
            <a:schemeClr val="dk1"/>
          </a:fontRef>
        </p:style>
        <p:txBody>
          <a:bodyPr rtlCol="0" anchor="ctr">
            <a:noAutofit/>
          </a:bodyPr>
          <a:lstStyle/>
          <a:p>
            <a:pPr algn="ctr"/>
            <a:endParaRPr lang="en-GB"/>
          </a:p>
        </p:txBody>
      </p:sp>
    </p:spTree>
    <p:extLst>
      <p:ext uri="{BB962C8B-B14F-4D97-AF65-F5344CB8AC3E}">
        <p14:creationId xmlns:p14="http://schemas.microsoft.com/office/powerpoint/2010/main" val="425019305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A0CDE8-1AE1-4E1C-AADD-7CCCD90CEFD4}"/>
              </a:ext>
            </a:extLst>
          </p:cNvPr>
          <p:cNvSpPr/>
          <p:nvPr/>
        </p:nvSpPr>
        <p:spPr>
          <a:xfrm>
            <a:off x="3566424" y="5689600"/>
            <a:ext cx="5054206" cy="55476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4" name="Object 3" hidden="1">
            <a:extLst>
              <a:ext uri="{FF2B5EF4-FFF2-40B4-BE49-F238E27FC236}">
                <a16:creationId xmlns:a16="http://schemas.microsoft.com/office/drawing/2014/main" id="{09B5CF1E-78FF-49F8-9586-307515372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OLE substitute image"/>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DF78E36F-4CE6-44DB-B3C2-C5FC32A3BF1A}"/>
              </a:ext>
            </a:extLst>
          </p:cNvPr>
          <p:cNvGrpSpPr/>
          <p:nvPr/>
        </p:nvGrpSpPr>
        <p:grpSpPr>
          <a:xfrm>
            <a:off x="4083907" y="896419"/>
            <a:ext cx="4024187" cy="4047209"/>
            <a:chOff x="4073769" y="896419"/>
            <a:chExt cx="4024187" cy="4047209"/>
          </a:xfrm>
        </p:grpSpPr>
        <p:sp>
          <p:nvSpPr>
            <p:cNvPr id="25" name="Oval 24">
              <a:extLst>
                <a:ext uri="{FF2B5EF4-FFF2-40B4-BE49-F238E27FC236}">
                  <a16:creationId xmlns:a16="http://schemas.microsoft.com/office/drawing/2014/main" id="{DE6DC217-DB32-4709-8353-2363054A4EC1}"/>
                </a:ext>
              </a:extLst>
            </p:cNvPr>
            <p:cNvSpPr>
              <a:spLocks noChangeAspect="1"/>
            </p:cNvSpPr>
            <p:nvPr/>
          </p:nvSpPr>
          <p:spPr>
            <a:xfrm rot="2723860">
              <a:off x="4074436" y="90911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CC7D3348-C76F-4BBF-8CDF-11A027E52792}"/>
                </a:ext>
              </a:extLst>
            </p:cNvPr>
            <p:cNvSpPr>
              <a:spLocks noChangeAspect="1"/>
            </p:cNvSpPr>
            <p:nvPr/>
          </p:nvSpPr>
          <p:spPr>
            <a:xfrm rot="2723860">
              <a:off x="5762914" y="259522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D59EC92E-C2E9-489F-8E3F-13D6C1EF3DE2}"/>
                </a:ext>
              </a:extLst>
            </p:cNvPr>
            <p:cNvSpPr>
              <a:spLocks noChangeAspect="1"/>
            </p:cNvSpPr>
            <p:nvPr/>
          </p:nvSpPr>
          <p:spPr>
            <a:xfrm rot="2723860">
              <a:off x="5762914" y="89575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D36BC0B2-88F6-45BC-9DF0-9006ACA3376D}"/>
                </a:ext>
              </a:extLst>
            </p:cNvPr>
            <p:cNvSpPr>
              <a:spLocks noChangeAspect="1"/>
            </p:cNvSpPr>
            <p:nvPr/>
          </p:nvSpPr>
          <p:spPr>
            <a:xfrm rot="2723860">
              <a:off x="4074435" y="260858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25D10EB8-048E-4EB9-81E4-B98BFB50E5C1}"/>
                </a:ext>
              </a:extLst>
            </p:cNvPr>
            <p:cNvSpPr>
              <a:spLocks noChangeAspect="1"/>
            </p:cNvSpPr>
            <p:nvPr/>
          </p:nvSpPr>
          <p:spPr>
            <a:xfrm>
              <a:off x="5058741" y="1881314"/>
              <a:ext cx="2087853" cy="2089045"/>
            </a:xfrm>
            <a:prstGeom prst="ellipse">
              <a:avLst/>
            </a:prstGeom>
            <a:gradFill flip="none" rotWithShape="1">
              <a:gsLst>
                <a:gs pos="79000">
                  <a:srgbClr val="002060"/>
                </a:gs>
                <a:gs pos="30000">
                  <a:srgbClr val="04A4EC"/>
                </a:gs>
              </a:gsLst>
              <a:lin ang="13500000" scaled="1"/>
            </a:gradFill>
            <a:ln w="10795"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95000"/>
                </a:lnSpc>
                <a:spcBef>
                  <a:spcPct val="0"/>
                </a:spcBef>
                <a:spcAft>
                  <a:spcPct val="0"/>
                </a:spcAft>
                <a:buClrTx/>
                <a:buSzTx/>
                <a:buFontTx/>
                <a:buNone/>
                <a:defRPr/>
              </a:pPr>
              <a:r>
                <a:rPr kumimoji="0" lang="zh-Hans" sz="1800" b="0" i="0" u="none" strike="noStrike" kern="0" cap="none" spc="0" normalizeH="0" baseline="0" noProof="0">
                  <a:solidFill>
                    <a:srgbClr val="FFFFFF"/>
                  </a:solidFill>
                  <a:highlight>
                    <a:srgbClr val="000000">
                      <a:alpha val="0"/>
                    </a:srgbClr>
                  </a:highlight>
                  <a:uLnTx/>
                  <a:uFillTx/>
                  <a:latin typeface="Simsun"/>
                  <a:ea typeface="Simsun"/>
                  <a:cs typeface="+mn-cs"/>
                </a:rPr>
                <a:t>突发事件应对协调</a:t>
              </a:r>
            </a:p>
          </p:txBody>
        </p:sp>
        <p:sp>
          <p:nvSpPr>
            <p:cNvPr id="32" name="TextBox 31">
              <a:extLst>
                <a:ext uri="{FF2B5EF4-FFF2-40B4-BE49-F238E27FC236}">
                  <a16:creationId xmlns:a16="http://schemas.microsoft.com/office/drawing/2014/main" id="{02FB79FA-6B51-4EE9-A8BA-B95B0099F814}"/>
                </a:ext>
              </a:extLst>
            </p:cNvPr>
            <p:cNvSpPr txBox="1"/>
            <p:nvPr/>
          </p:nvSpPr>
          <p:spPr>
            <a:xfrm>
              <a:off x="4306310" y="1430936"/>
              <a:ext cx="1543839" cy="646331"/>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协作监督</a:t>
              </a:r>
            </a:p>
          </p:txBody>
        </p:sp>
        <p:sp>
          <p:nvSpPr>
            <p:cNvPr id="33" name="TextBox 32">
              <a:extLst>
                <a:ext uri="{FF2B5EF4-FFF2-40B4-BE49-F238E27FC236}">
                  <a16:creationId xmlns:a16="http://schemas.microsoft.com/office/drawing/2014/main" id="{669E3D01-D3C9-45AD-A437-CD114337326F}"/>
                </a:ext>
              </a:extLst>
            </p:cNvPr>
            <p:cNvSpPr txBox="1"/>
            <p:nvPr/>
          </p:nvSpPr>
          <p:spPr>
            <a:xfrm>
              <a:off x="6086605" y="1431647"/>
              <a:ext cx="2004593" cy="612202"/>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环境</a:t>
              </a:r>
            </a:p>
          </p:txBody>
        </p:sp>
        <p:sp>
          <p:nvSpPr>
            <p:cNvPr id="34" name="TextBox 33">
              <a:extLst>
                <a:ext uri="{FF2B5EF4-FFF2-40B4-BE49-F238E27FC236}">
                  <a16:creationId xmlns:a16="http://schemas.microsoft.com/office/drawing/2014/main" id="{2F6EF038-A622-4619-85FA-4241ADB5E7F9}"/>
                </a:ext>
              </a:extLst>
            </p:cNvPr>
            <p:cNvSpPr txBox="1"/>
            <p:nvPr/>
          </p:nvSpPr>
          <p:spPr>
            <a:xfrm>
              <a:off x="6542731" y="3794661"/>
              <a:ext cx="1167438" cy="612202"/>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初级卫生保健</a:t>
              </a:r>
            </a:p>
          </p:txBody>
        </p:sp>
        <p:sp>
          <p:nvSpPr>
            <p:cNvPr id="35" name="TextBox 34">
              <a:extLst>
                <a:ext uri="{FF2B5EF4-FFF2-40B4-BE49-F238E27FC236}">
                  <a16:creationId xmlns:a16="http://schemas.microsoft.com/office/drawing/2014/main" id="{974226C4-4129-4C0E-BD8B-942A5749277D}"/>
                </a:ext>
              </a:extLst>
            </p:cNvPr>
            <p:cNvSpPr txBox="1"/>
            <p:nvPr/>
          </p:nvSpPr>
          <p:spPr>
            <a:xfrm>
              <a:off x="4209880" y="3865767"/>
              <a:ext cx="1877874" cy="646331"/>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获取应对措施</a:t>
              </a:r>
            </a:p>
          </p:txBody>
        </p:sp>
      </p:grpSp>
      <p:sp>
        <p:nvSpPr>
          <p:cNvPr id="41" name="TextBox 40">
            <a:extLst>
              <a:ext uri="{FF2B5EF4-FFF2-40B4-BE49-F238E27FC236}">
                <a16:creationId xmlns:a16="http://schemas.microsoft.com/office/drawing/2014/main" id="{83A6A253-39B4-417C-85BD-28810C37EA6C}"/>
              </a:ext>
            </a:extLst>
          </p:cNvPr>
          <p:cNvSpPr txBox="1"/>
          <p:nvPr/>
        </p:nvSpPr>
        <p:spPr>
          <a:xfrm>
            <a:off x="518181" y="851624"/>
            <a:ext cx="2998920" cy="2123658"/>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加强国家层面的疾病、威胁和脆弱性的综合</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监测</a:t>
            </a:r>
            <a:endPar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提高病原体和基因组监测的</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实验室</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能力</a:t>
            </a:r>
            <a:endPar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CN" altLang="en-U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采取</a:t>
            </a:r>
            <a:r>
              <a:rPr kumimoji="0" lang="zh-Hans" altLang="zh-CN"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合作</a:t>
            </a:r>
            <a:r>
              <a:rPr kumimoji="0" lang="zh-Hans" altLang="zh-CN"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性措施</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进行风险预测、事件发现和应对监测</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43" name="TextBox 42">
            <a:extLst>
              <a:ext uri="{FF2B5EF4-FFF2-40B4-BE49-F238E27FC236}">
                <a16:creationId xmlns:a16="http://schemas.microsoft.com/office/drawing/2014/main" id="{58D11ADF-B777-452B-8CAC-39D1412F10E2}"/>
              </a:ext>
            </a:extLst>
          </p:cNvPr>
          <p:cNvSpPr txBox="1"/>
          <p:nvPr/>
        </p:nvSpPr>
        <p:spPr>
          <a:xfrm>
            <a:off x="8691239" y="658949"/>
            <a:ext cx="2741292" cy="2719097"/>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主动的</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风险沟通和错误疾病信息管理 </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为社区提供信息并建立信任</a:t>
            </a:r>
          </a:p>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通过社区参与，根据当地的情况和习俗共同创造大规模的</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人口和环境干预措施 </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采取多部门行动</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解决社区关注的问题，如社会福利和生计保障</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47" name="TextBox 46">
            <a:extLst>
              <a:ext uri="{FF2B5EF4-FFF2-40B4-BE49-F238E27FC236}">
                <a16:creationId xmlns:a16="http://schemas.microsoft.com/office/drawing/2014/main" id="{727CAF07-DED9-4609-AEC5-8D55ED4C6A2D}"/>
              </a:ext>
            </a:extLst>
          </p:cNvPr>
          <p:cNvSpPr txBox="1"/>
          <p:nvPr/>
        </p:nvSpPr>
        <p:spPr>
          <a:xfrm>
            <a:off x="8687863" y="3539221"/>
            <a:ext cx="3254429" cy="1699886"/>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ct val="0"/>
              </a:spcBef>
              <a:spcAft>
                <a:spcPts val="600"/>
              </a:spcAft>
              <a:buClrTx/>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mn-cs"/>
              </a:rPr>
              <a:t>安全</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和可扩展的</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紧急护理</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600"/>
              </a:spcAft>
              <a:buClrTx/>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保护病人、卫生工作者和社区的</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感染预防和控制 </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600"/>
              </a:spcAft>
              <a:buClrTx/>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能够在突发事件下</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维持基本卫生服务 </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的卫生系统</a:t>
            </a:r>
          </a:p>
        </p:txBody>
      </p:sp>
      <p:sp>
        <p:nvSpPr>
          <p:cNvPr id="49" name="TextBox 48">
            <a:extLst>
              <a:ext uri="{FF2B5EF4-FFF2-40B4-BE49-F238E27FC236}">
                <a16:creationId xmlns:a16="http://schemas.microsoft.com/office/drawing/2014/main" id="{10511B99-0C83-4692-A919-F31D4F38098A}"/>
              </a:ext>
            </a:extLst>
          </p:cNvPr>
          <p:cNvSpPr txBox="1"/>
          <p:nvPr/>
        </p:nvSpPr>
        <p:spPr>
          <a:xfrm>
            <a:off x="518179" y="3345405"/>
            <a:ext cx="3048101" cy="1908215"/>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通过预先谈判达成的利益分享协议快速开展</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研发工作</a:t>
            </a:r>
          </a:p>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可扩展的</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制造平台和</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技术转让协议</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1200"/>
              </a:spcAft>
              <a:buClr>
                <a:srgbClr val="000000"/>
              </a:buClr>
              <a:buSzTx/>
              <a:buFontTx/>
              <a:buNone/>
              <a:defRPr/>
            </a:pP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协调采购和</a:t>
            </a:r>
            <a:r>
              <a:rPr kumimoji="0" lang="zh-Hans" sz="1400" b="1" i="0" u="none" strike="noStrike" kern="1200" cap="none" spc="0" normalizeH="0" baseline="0" noProof="0" dirty="0">
                <a:solidFill>
                  <a:srgbClr val="000000"/>
                </a:solidFill>
                <a:highlight>
                  <a:srgbClr val="000000">
                    <a:alpha val="0"/>
                  </a:srgbClr>
                </a:highlight>
                <a:uLnTx/>
                <a:uFillTx/>
                <a:latin typeface="Simsun"/>
                <a:ea typeface="Simsun"/>
                <a:cs typeface="Arial"/>
              </a:rPr>
              <a:t>应急供应链</a:t>
            </a:r>
            <a:r>
              <a:rPr kumimoji="0" lang="zh-Hans" sz="1400" b="0" i="0" u="none" strike="noStrike" kern="1200" cap="none" spc="0" normalizeH="0" baseline="0" noProof="0" dirty="0">
                <a:solidFill>
                  <a:srgbClr val="000000"/>
                </a:solidFill>
                <a:highlight>
                  <a:srgbClr val="000000">
                    <a:alpha val="0"/>
                  </a:srgbClr>
                </a:highlight>
                <a:uLnTx/>
                <a:uFillTx/>
                <a:latin typeface="Simsun"/>
                <a:ea typeface="Simsun"/>
                <a:cs typeface="Arial"/>
              </a:rPr>
              <a:t>以确保公平获取</a:t>
            </a: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cxnSp>
        <p:nvCxnSpPr>
          <p:cNvPr id="52" name="Straight Connector 51">
            <a:extLst>
              <a:ext uri="{FF2B5EF4-FFF2-40B4-BE49-F238E27FC236}">
                <a16:creationId xmlns:a16="http://schemas.microsoft.com/office/drawing/2014/main" id="{6F5811FE-045E-4780-9FB1-570F0A9147FA}"/>
              </a:ext>
            </a:extLst>
          </p:cNvPr>
          <p:cNvCxnSpPr/>
          <p:nvPr/>
        </p:nvCxnSpPr>
        <p:spPr>
          <a:xfrm flipH="1">
            <a:off x="3566424" y="1219200"/>
            <a:ext cx="0" cy="148916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LineSpecialityDiamond 70">
            <a:extLst>
              <a:ext uri="{FF2B5EF4-FFF2-40B4-BE49-F238E27FC236}">
                <a16:creationId xmlns:a16="http://schemas.microsoft.com/office/drawing/2014/main" id="{4C9F1A92-A32A-4547-B3AF-3CF9E2F8E1E0}"/>
              </a:ext>
            </a:extLst>
          </p:cNvPr>
          <p:cNvCxnSpPr/>
          <p:nvPr>
            <p:custDataLst>
              <p:tags r:id="rId2"/>
            </p:custDataLst>
          </p:nvPr>
        </p:nvCxnSpPr>
        <p:spPr>
          <a:xfrm>
            <a:off x="3566424" y="1786321"/>
            <a:ext cx="37953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8" name="LineSpecialityDiamond 70">
            <a:extLst>
              <a:ext uri="{FF2B5EF4-FFF2-40B4-BE49-F238E27FC236}">
                <a16:creationId xmlns:a16="http://schemas.microsoft.com/office/drawing/2014/main" id="{7D63357E-875A-4F8A-B89E-2E7F80EA6A48}"/>
              </a:ext>
            </a:extLst>
          </p:cNvPr>
          <p:cNvCxnSpPr/>
          <p:nvPr>
            <p:custDataLst>
              <p:tags r:id="rId3"/>
            </p:custDataLst>
          </p:nvPr>
        </p:nvCxnSpPr>
        <p:spPr>
          <a:xfrm>
            <a:off x="3566284" y="4292470"/>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1B033AC-26BF-4B55-AAE3-461EE811D35D}"/>
              </a:ext>
            </a:extLst>
          </p:cNvPr>
          <p:cNvCxnSpPr/>
          <p:nvPr/>
        </p:nvCxnSpPr>
        <p:spPr>
          <a:xfrm flipH="1">
            <a:off x="3566424" y="3714688"/>
            <a:ext cx="0" cy="107440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1E52A0-2A8C-452F-8921-53D0D68397AD}"/>
              </a:ext>
            </a:extLst>
          </p:cNvPr>
          <p:cNvCxnSpPr/>
          <p:nvPr/>
        </p:nvCxnSpPr>
        <p:spPr>
          <a:xfrm flipH="1">
            <a:off x="8620630" y="1036320"/>
            <a:ext cx="0" cy="175042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LineSpecialityDiamond 70">
            <a:extLst>
              <a:ext uri="{FF2B5EF4-FFF2-40B4-BE49-F238E27FC236}">
                <a16:creationId xmlns:a16="http://schemas.microsoft.com/office/drawing/2014/main" id="{DA547FE1-D866-419E-86FE-C8558110015C}"/>
              </a:ext>
            </a:extLst>
          </p:cNvPr>
          <p:cNvCxnSpPr/>
          <p:nvPr>
            <p:custDataLst>
              <p:tags r:id="rId4"/>
            </p:custDataLst>
          </p:nvPr>
        </p:nvCxnSpPr>
        <p:spPr>
          <a:xfrm flipH="1">
            <a:off x="8240960" y="1786321"/>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C081969-5E59-415A-B1AC-F2F10377219E}"/>
              </a:ext>
            </a:extLst>
          </p:cNvPr>
          <p:cNvCxnSpPr/>
          <p:nvPr/>
        </p:nvCxnSpPr>
        <p:spPr>
          <a:xfrm flipH="1">
            <a:off x="8620630" y="3794661"/>
            <a:ext cx="0" cy="9944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LineSpecialityDiamond 70">
            <a:extLst>
              <a:ext uri="{FF2B5EF4-FFF2-40B4-BE49-F238E27FC236}">
                <a16:creationId xmlns:a16="http://schemas.microsoft.com/office/drawing/2014/main" id="{4B3B04DE-9875-4859-8A5F-736F45CEF8BD}"/>
              </a:ext>
            </a:extLst>
          </p:cNvPr>
          <p:cNvCxnSpPr/>
          <p:nvPr>
            <p:custDataLst>
              <p:tags r:id="rId5"/>
            </p:custDataLst>
          </p:nvPr>
        </p:nvCxnSpPr>
        <p:spPr>
          <a:xfrm flipH="1">
            <a:off x="8240960" y="4292472"/>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7B6A0491-DFF8-4824-8A0F-85E47F20432C}"/>
              </a:ext>
            </a:extLst>
          </p:cNvPr>
          <p:cNvSpPr>
            <a:spLocks noGrp="1"/>
          </p:cNvSpPr>
          <p:nvPr>
            <p:ph type="title"/>
          </p:nvPr>
        </p:nvSpPr>
        <p:spPr>
          <a:xfrm>
            <a:off x="552263" y="482080"/>
            <a:ext cx="11082528" cy="384721"/>
          </a:xfrm>
          <a:noFill/>
          <a:extLst>
            <a:ext uri="{909E8E84-426E-40DD-AFC4-6F175D3DCCD1}">
              <a14:hiddenFill xmlns:a14="http://schemas.microsoft.com/office/drawing/2010/main">
                <a:solidFill>
                  <a:srgbClr val="FFFFFF"/>
                </a:solidFill>
              </a14:hiddenFill>
            </a:ext>
          </a:extLst>
        </p:spPr>
        <p:txBody>
          <a:bodyPr vert="horz" wrap="square" anchor="b" anchorCtr="0">
            <a:noAutofit/>
          </a:bodyPr>
          <a:lstStyle/>
          <a:p>
            <a:pPr rtl="0"/>
            <a:r>
              <a:rPr lang="zh-Hans" sz="3200" b="0" i="0" u="none" strike="noStrike">
                <a:highlight>
                  <a:srgbClr val="000000">
                    <a:alpha val="0"/>
                  </a:srgbClr>
                </a:highlight>
                <a:latin typeface="Simsun"/>
                <a:ea typeface="Simsun"/>
              </a:rPr>
              <a:t>深入探讨：为HEPR系统开发相互联系的核心能力和解决方案</a:t>
            </a:r>
          </a:p>
        </p:txBody>
      </p:sp>
      <p:cxnSp>
        <p:nvCxnSpPr>
          <p:cNvPr id="88" name="Straight Connector 87">
            <a:extLst>
              <a:ext uri="{FF2B5EF4-FFF2-40B4-BE49-F238E27FC236}">
                <a16:creationId xmlns:a16="http://schemas.microsoft.com/office/drawing/2014/main" id="{B4EE9CD6-45C1-4FD8-A258-F565C72F3011}"/>
              </a:ext>
            </a:extLst>
          </p:cNvPr>
          <p:cNvCxnSpPr/>
          <p:nvPr/>
        </p:nvCxnSpPr>
        <p:spPr>
          <a:xfrm>
            <a:off x="4075611" y="5054213"/>
            <a:ext cx="3857898" cy="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LineSpecialityDiamond 70">
            <a:extLst>
              <a:ext uri="{FF2B5EF4-FFF2-40B4-BE49-F238E27FC236}">
                <a16:creationId xmlns:a16="http://schemas.microsoft.com/office/drawing/2014/main" id="{BF99F9C3-E52E-473A-B2E4-2B6B18AAE4AD}"/>
              </a:ext>
            </a:extLst>
          </p:cNvPr>
          <p:cNvCxnSpPr/>
          <p:nvPr>
            <p:custDataLst>
              <p:tags r:id="rId6"/>
            </p:custDataLst>
          </p:nvPr>
        </p:nvCxnSpPr>
        <p:spPr>
          <a:xfrm flipH="1" flipV="1">
            <a:off x="6095944" y="3515330"/>
            <a:ext cx="0" cy="1538883"/>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19B2C76-2746-49A4-83DC-3ED63FDDA3FA}"/>
              </a:ext>
            </a:extLst>
          </p:cNvPr>
          <p:cNvSpPr txBox="1"/>
          <p:nvPr/>
        </p:nvSpPr>
        <p:spPr>
          <a:xfrm>
            <a:off x="3558307" y="5138706"/>
            <a:ext cx="5132932" cy="1692771"/>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1200"/>
              </a:spcBef>
              <a:spcAft>
                <a:spcPct val="0"/>
              </a:spcAft>
              <a:buClr>
                <a:srgbClr val="000000"/>
              </a:buClr>
              <a:buSzTx/>
              <a:buFontTx/>
              <a:buNone/>
              <a:defRPr/>
            </a:pPr>
            <a:r>
              <a:rPr kumimoji="0" lang="zh-Hans" sz="1400" b="0" i="0" u="none" strike="noStrike" kern="1200" cap="none" spc="0" normalizeH="0" baseline="0" noProof="0">
                <a:solidFill>
                  <a:srgbClr val="000000"/>
                </a:solidFill>
                <a:highlight>
                  <a:srgbClr val="000000">
                    <a:alpha val="0"/>
                  </a:srgbClr>
                </a:highlight>
                <a:uLnTx/>
                <a:uFillTx/>
                <a:latin typeface="Simsun"/>
                <a:ea typeface="Simsun"/>
                <a:cs typeface="+mn-cs"/>
              </a:rPr>
              <a:t>加强</a:t>
            </a:r>
            <a:r>
              <a:rPr kumimoji="0" lang="zh-Hans" sz="1400" b="1" i="0" u="none" strike="noStrike" kern="1200" cap="none" spc="0" normalizeH="0" baseline="0" noProof="0">
                <a:solidFill>
                  <a:srgbClr val="000000"/>
                </a:solidFill>
                <a:highlight>
                  <a:srgbClr val="000000">
                    <a:alpha val="0"/>
                  </a:srgbClr>
                </a:highlight>
                <a:uLnTx/>
                <a:uFillTx/>
                <a:latin typeface="Simsun"/>
                <a:ea typeface="Simsun"/>
                <a:cs typeface="+mn-cs"/>
              </a:rPr>
              <a:t>卫生突发事件预警和反应团队 </a:t>
            </a:r>
            <a:r>
              <a:rPr kumimoji="0" lang="zh-Hans" sz="1400" b="0" i="0" u="none" strike="noStrike" kern="1200" cap="none" spc="0" normalizeH="0" baseline="0" noProof="0">
                <a:solidFill>
                  <a:srgbClr val="000000"/>
                </a:solidFill>
                <a:highlight>
                  <a:srgbClr val="000000">
                    <a:alpha val="0"/>
                  </a:srgbClr>
                </a:highlight>
                <a:uLnTx/>
                <a:uFillTx/>
                <a:latin typeface="Simsun"/>
                <a:ea typeface="Simsun"/>
                <a:cs typeface="+mn-cs"/>
              </a:rPr>
              <a:t>，使其具有互操作性和快速部署能力</a:t>
            </a:r>
          </a:p>
          <a:p>
            <a:pPr marL="0" marR="0" lvl="0" indent="0" algn="l" defTabSz="914400" rtl="0" eaLnBrk="1" fontAlgn="auto" latinLnBrk="0" hangingPunct="1">
              <a:lnSpc>
                <a:spcPct val="100000"/>
              </a:lnSpc>
              <a:spcBef>
                <a:spcPts val="1200"/>
              </a:spcBef>
              <a:spcAft>
                <a:spcPct val="0"/>
              </a:spcAft>
              <a:buClr>
                <a:srgbClr val="000000"/>
              </a:buClr>
              <a:buSzTx/>
              <a:buFontTx/>
              <a:buNone/>
              <a:defRPr/>
            </a:pPr>
            <a:r>
              <a:rPr kumimoji="0" lang="zh-Hans" sz="1400" b="0" i="0" u="none" strike="noStrike" kern="1200" cap="none" spc="0" normalizeH="0" baseline="0" noProof="0">
                <a:solidFill>
                  <a:srgbClr val="FFFFFF"/>
                </a:solidFill>
                <a:highlight>
                  <a:srgbClr val="000000">
                    <a:alpha val="0"/>
                  </a:srgbClr>
                </a:highlight>
                <a:uLnTx/>
                <a:uFillTx/>
                <a:latin typeface="Simsun"/>
                <a:ea typeface="Simsun"/>
                <a:cs typeface="+mn-cs"/>
              </a:rPr>
              <a:t>为准备、预防、减少风险和运营准备制定一致性的</a:t>
            </a:r>
            <a:r>
              <a:rPr kumimoji="0" lang="zh-Hans" sz="1400" b="1" i="0" u="none" strike="noStrike" kern="1200" cap="none" spc="0" normalizeH="0" baseline="0" noProof="0">
                <a:solidFill>
                  <a:srgbClr val="FFFFFF"/>
                </a:solidFill>
                <a:highlight>
                  <a:srgbClr val="000000">
                    <a:alpha val="0"/>
                  </a:srgbClr>
                </a:highlight>
                <a:uLnTx/>
                <a:uFillTx/>
                <a:latin typeface="Simsun"/>
                <a:ea typeface="Simsun"/>
                <a:cs typeface="+mn-cs"/>
              </a:rPr>
              <a:t>国家行动计划 </a:t>
            </a:r>
          </a:p>
          <a:p>
            <a:pPr marL="0" marR="0" lvl="0" indent="0" algn="l" defTabSz="914400" rtl="0" eaLnBrk="1" fontAlgn="auto" latinLnBrk="0" hangingPunct="1">
              <a:lnSpc>
                <a:spcPct val="100000"/>
              </a:lnSpc>
              <a:spcBef>
                <a:spcPts val="1200"/>
              </a:spcBef>
              <a:spcAft>
                <a:spcPct val="0"/>
              </a:spcAft>
              <a:buClr>
                <a:srgbClr val="000000"/>
              </a:buClr>
              <a:buSzTx/>
              <a:buFontTx/>
              <a:buNone/>
              <a:defRPr/>
            </a:pPr>
            <a:r>
              <a:rPr kumimoji="0" lang="zh-Hans" sz="1400" b="0" i="0" u="none" strike="noStrike" kern="1200" cap="none" spc="0" normalizeH="0" baseline="0" noProof="0">
                <a:solidFill>
                  <a:srgbClr val="000000"/>
                </a:solidFill>
                <a:highlight>
                  <a:srgbClr val="000000">
                    <a:alpha val="0"/>
                  </a:srgbClr>
                </a:highlight>
                <a:uLnTx/>
                <a:uFillTx/>
                <a:latin typeface="Simsun"/>
                <a:ea typeface="Simsun"/>
                <a:cs typeface="+mn-cs"/>
              </a:rPr>
              <a:t>通过标准化的和普遍应用的突发事件应对框架，进行可扩展的卫生</a:t>
            </a:r>
            <a:r>
              <a:rPr kumimoji="0" lang="zh-Hans" sz="1400" b="1" i="0" u="none" strike="noStrike" kern="1200" cap="none" spc="0" normalizeH="0" baseline="0" noProof="0">
                <a:solidFill>
                  <a:srgbClr val="000000"/>
                </a:solidFill>
                <a:highlight>
                  <a:srgbClr val="000000">
                    <a:alpha val="0"/>
                  </a:srgbClr>
                </a:highlight>
                <a:uLnTx/>
                <a:uFillTx/>
                <a:latin typeface="Simsun"/>
                <a:ea typeface="Simsun"/>
                <a:cs typeface="+mn-cs"/>
              </a:rPr>
              <a:t>突发事件应对协调 </a:t>
            </a:r>
          </a:p>
        </p:txBody>
      </p:sp>
    </p:spTree>
    <p:extLst>
      <p:ext uri="{BB962C8B-B14F-4D97-AF65-F5344CB8AC3E}">
        <p14:creationId xmlns:p14="http://schemas.microsoft.com/office/powerpoint/2010/main" val="215092991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5B41B6-AF46-4282-BA05-B258BC1FD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Title 1">
            <a:extLst>
              <a:ext uri="{FF2B5EF4-FFF2-40B4-BE49-F238E27FC236}">
                <a16:creationId xmlns:a16="http://schemas.microsoft.com/office/drawing/2014/main" id="{7B6A0491-DFF8-4824-8A0F-85E47F20432C}"/>
              </a:ext>
            </a:extLst>
          </p:cNvPr>
          <p:cNvSpPr>
            <a:spLocks noGrp="1"/>
          </p:cNvSpPr>
          <p:nvPr>
            <p:ph type="title"/>
          </p:nvPr>
        </p:nvSpPr>
        <p:spPr>
          <a:xfrm>
            <a:off x="544797" y="659959"/>
            <a:ext cx="5369130" cy="769441"/>
          </a:xfrm>
          <a:noFill/>
          <a:extLst>
            <a:ext uri="{909E8E84-426E-40DD-AFC4-6F175D3DCCD1}">
              <a14:hiddenFill xmlns:a14="http://schemas.microsoft.com/office/drawing/2010/main">
                <a:solidFill>
                  <a:srgbClr val="FFFFFF"/>
                </a:solidFill>
              </a14:hiddenFill>
            </a:ext>
          </a:extLst>
        </p:spPr>
        <p:txBody>
          <a:bodyPr vert="horz" wrap="square" anchor="b" anchorCtr="0">
            <a:noAutofit/>
          </a:bodyPr>
          <a:lstStyle/>
          <a:p>
            <a:pPr rtl="0"/>
            <a:r>
              <a:rPr lang="zh-Hans" sz="3200" b="0" i="0" u="none" strike="noStrike">
                <a:highlight>
                  <a:srgbClr val="000000">
                    <a:alpha val="0"/>
                  </a:srgbClr>
                </a:highlight>
                <a:latin typeface="Simsun"/>
                <a:ea typeface="Simsun"/>
              </a:rPr>
              <a:t>在水平和垂直方向上系统的各个环节要紧密联系。</a:t>
            </a:r>
          </a:p>
        </p:txBody>
      </p:sp>
      <p:sp>
        <p:nvSpPr>
          <p:cNvPr id="45" name="TextBox 44">
            <a:extLst>
              <a:ext uri="{FF2B5EF4-FFF2-40B4-BE49-F238E27FC236}">
                <a16:creationId xmlns:a16="http://schemas.microsoft.com/office/drawing/2014/main" id="{FBA1537F-CE92-499E-A97C-0E1F4C0D7F20}"/>
              </a:ext>
            </a:extLst>
          </p:cNvPr>
          <p:cNvSpPr txBox="1"/>
          <p:nvPr/>
        </p:nvSpPr>
        <p:spPr>
          <a:xfrm>
            <a:off x="535116" y="1754168"/>
            <a:ext cx="975179" cy="307777"/>
          </a:xfrm>
          <a:prstGeom prst="rect">
            <a:avLst/>
          </a:prstGeom>
        </p:spPr>
        <p:txBody>
          <a:bodyPr vert="horz" wrap="square" lIns="0" tIns="0" rIns="0" bIns="0" rtlCol="0" anchor="ctr" anchorCtr="0">
            <a:noAutofit/>
          </a:bodyPr>
          <a:lstStyle>
            <a:defPPr>
              <a:defRPr lang="en-US"/>
            </a:defPPr>
            <a:lvl1pPr lvl="0" indent="0" algn="r">
              <a:lnSpc>
                <a:spcPct val="100000"/>
              </a:lnSpc>
              <a:spcBef>
                <a:spcPct val="0"/>
              </a:spcBef>
              <a:spcAft>
                <a:spcPct val="0"/>
              </a:spcAft>
              <a:buFont typeface="Segoe UI" panose="020B0502040204020203" pitchFamily="34" charset="0"/>
              <a:buChar char="​"/>
              <a:defRPr sz="2000" b="1">
                <a:solidFill>
                  <a:schemeClr val="accent1"/>
                </a:solidFill>
              </a:defRPr>
            </a:lvl1pPr>
            <a:lvl2pPr marL="228600" lvl="1" indent="-225425">
              <a:lnSpc>
                <a:spcPct val="100000"/>
              </a:lnSpc>
              <a:spcBef>
                <a:spcPct val="0"/>
              </a:spcBef>
              <a:spcAft>
                <a:spcPts val="300"/>
              </a:spcAft>
              <a:buFont typeface="Wingdings" panose="05000000000000000000" pitchFamily="2" charset="2"/>
              <a:buChar char=""/>
              <a:defRPr sz="1600">
                <a:solidFill>
                  <a:schemeClr val="tx1"/>
                </a:solidFill>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solidFill>
                  <a:schemeClr val="tx1"/>
                </a:solidFill>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solidFill>
                  <a:schemeClr val="tx1"/>
                </a:solidFill>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9pPr>
          </a:lstStyle>
          <a:p>
            <a:pPr rtl="0"/>
            <a:r>
              <a:rPr lang="zh-Hans" sz="2000" b="1" i="0" u="none" strike="noStrike">
                <a:highlight>
                  <a:srgbClr val="000000">
                    <a:alpha val="0"/>
                  </a:srgbClr>
                </a:highlight>
                <a:latin typeface="Simsun"/>
                <a:ea typeface="Simsun"/>
              </a:rPr>
              <a:t>全球性</a:t>
            </a:r>
          </a:p>
        </p:txBody>
      </p:sp>
      <p:sp>
        <p:nvSpPr>
          <p:cNvPr id="46" name="TextBox 45">
            <a:extLst>
              <a:ext uri="{FF2B5EF4-FFF2-40B4-BE49-F238E27FC236}">
                <a16:creationId xmlns:a16="http://schemas.microsoft.com/office/drawing/2014/main" id="{42A8880E-C185-4971-B30B-A1399D1436EE}"/>
              </a:ext>
            </a:extLst>
          </p:cNvPr>
          <p:cNvSpPr txBox="1"/>
          <p:nvPr/>
        </p:nvSpPr>
        <p:spPr>
          <a:xfrm>
            <a:off x="651301" y="3480922"/>
            <a:ext cx="117683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zh-Hans" sz="2000" b="1" i="0" u="none" strike="noStrike">
                <a:solidFill>
                  <a:srgbClr val="0099DD"/>
                </a:solidFill>
                <a:highlight>
                  <a:srgbClr val="000000">
                    <a:alpha val="0"/>
                  </a:srgbClr>
                </a:highlight>
                <a:latin typeface="Simsun"/>
                <a:ea typeface="Simsun"/>
              </a:rPr>
              <a:t>区域性</a:t>
            </a:r>
          </a:p>
        </p:txBody>
      </p:sp>
      <p:sp>
        <p:nvSpPr>
          <p:cNvPr id="48" name="TextBox 47">
            <a:extLst>
              <a:ext uri="{FF2B5EF4-FFF2-40B4-BE49-F238E27FC236}">
                <a16:creationId xmlns:a16="http://schemas.microsoft.com/office/drawing/2014/main" id="{C061AB32-EE8C-4D24-8221-22B5A7C63582}"/>
              </a:ext>
            </a:extLst>
          </p:cNvPr>
          <p:cNvSpPr txBox="1"/>
          <p:nvPr/>
        </p:nvSpPr>
        <p:spPr>
          <a:xfrm>
            <a:off x="535116" y="5467894"/>
            <a:ext cx="1244060" cy="307777"/>
          </a:xfrm>
          <a:prstGeom prst="rect">
            <a:avLst/>
          </a:prstGeom>
        </p:spPr>
        <p:txBody>
          <a:bodyPr vert="horz" wrap="square" lIns="0" tIns="0" rIns="0" bIns="0" rtlCol="0" anchor="ctr" anchorCtr="0">
            <a:noAutofit/>
          </a:bodyPr>
          <a:lstStyle>
            <a:defPPr>
              <a:defRPr lang="en-US"/>
            </a:defPPr>
            <a:lvl1pPr lvl="0" indent="0" algn="r">
              <a:lnSpc>
                <a:spcPct val="100000"/>
              </a:lnSpc>
              <a:spcBef>
                <a:spcPct val="0"/>
              </a:spcBef>
              <a:spcAft>
                <a:spcPct val="0"/>
              </a:spcAft>
              <a:buFont typeface="Segoe UI" panose="020B0502040204020203" pitchFamily="34" charset="0"/>
              <a:buChar char="​"/>
              <a:defRPr sz="2000" b="1">
                <a:solidFill>
                  <a:schemeClr val="accent1"/>
                </a:solidFill>
              </a:defRPr>
            </a:lvl1pPr>
            <a:lvl2pPr marL="228600" lvl="1" indent="-225425">
              <a:lnSpc>
                <a:spcPct val="100000"/>
              </a:lnSpc>
              <a:spcBef>
                <a:spcPct val="0"/>
              </a:spcBef>
              <a:spcAft>
                <a:spcPts val="300"/>
              </a:spcAft>
              <a:buFont typeface="Wingdings" panose="05000000000000000000" pitchFamily="2" charset="2"/>
              <a:buChar char=""/>
              <a:defRPr sz="1600">
                <a:solidFill>
                  <a:schemeClr val="tx1"/>
                </a:solidFill>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solidFill>
                  <a:schemeClr val="tx1"/>
                </a:solidFill>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solidFill>
                  <a:schemeClr val="tx1"/>
                </a:solidFill>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solidFill>
                  <a:schemeClr val="tx1"/>
                </a:solidFill>
                <a:cs typeface="Arial" panose="020B0604020202020204" pitchFamily="34" charset="0"/>
              </a:defRPr>
            </a:lvl9pPr>
          </a:lstStyle>
          <a:p>
            <a:pPr rtl="0"/>
            <a:r>
              <a:rPr lang="zh-Hans" sz="2000" b="1" i="0" u="none" strike="noStrike">
                <a:highlight>
                  <a:srgbClr val="000000">
                    <a:alpha val="0"/>
                  </a:srgbClr>
                </a:highlight>
                <a:latin typeface="Simsun"/>
                <a:ea typeface="Simsun"/>
              </a:rPr>
              <a:t>国家性</a:t>
            </a:r>
          </a:p>
        </p:txBody>
      </p:sp>
      <p:cxnSp>
        <p:nvCxnSpPr>
          <p:cNvPr id="6" name="Straight Arrow Connector 5">
            <a:extLst>
              <a:ext uri="{FF2B5EF4-FFF2-40B4-BE49-F238E27FC236}">
                <a16:creationId xmlns:a16="http://schemas.microsoft.com/office/drawing/2014/main" id="{C150E2CF-6722-4194-A597-DCE2B729149B}"/>
              </a:ext>
            </a:extLst>
          </p:cNvPr>
          <p:cNvCxnSpPr/>
          <p:nvPr/>
        </p:nvCxnSpPr>
        <p:spPr>
          <a:xfrm>
            <a:off x="2273200" y="6433162"/>
            <a:ext cx="3154003" cy="0"/>
          </a:xfrm>
          <a:prstGeom prst="straightConnector1">
            <a:avLst/>
          </a:prstGeom>
          <a:ln w="50800" cap="flat">
            <a:solidFill>
              <a:srgbClr val="002E89"/>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6F3C01C5-BD65-42A6-B04A-2EB4C404F58F}"/>
              </a:ext>
            </a:extLst>
          </p:cNvPr>
          <p:cNvCxnSpPr/>
          <p:nvPr/>
        </p:nvCxnSpPr>
        <p:spPr>
          <a:xfrm flipH="1">
            <a:off x="1981033" y="1551398"/>
            <a:ext cx="0" cy="4510355"/>
          </a:xfrm>
          <a:prstGeom prst="straightConnector1">
            <a:avLst/>
          </a:prstGeom>
          <a:ln w="50800" cap="flat">
            <a:solidFill>
              <a:srgbClr val="002E89"/>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6BDED99-B9D6-4652-8A58-2C8508308FBD}"/>
              </a:ext>
            </a:extLst>
          </p:cNvPr>
          <p:cNvPicPr>
            <a:picLocks noChangeAspect="1"/>
          </p:cNvPicPr>
          <p:nvPr/>
        </p:nvPicPr>
        <p:blipFill>
          <a:blip r:embed="rId6"/>
          <a:stretch>
            <a:fillRect/>
          </a:stretch>
        </p:blipFill>
        <p:spPr>
          <a:xfrm>
            <a:off x="5913927" y="1908056"/>
            <a:ext cx="6019607" cy="4321060"/>
          </a:xfrm>
          <a:prstGeom prst="rect">
            <a:avLst/>
          </a:prstGeom>
        </p:spPr>
      </p:pic>
      <p:pic>
        <p:nvPicPr>
          <p:cNvPr id="10" name="Picture 9">
            <a:extLst>
              <a:ext uri="{FF2B5EF4-FFF2-40B4-BE49-F238E27FC236}">
                <a16:creationId xmlns:a16="http://schemas.microsoft.com/office/drawing/2014/main" id="{D742ADAB-D234-4DEE-A1C6-12ED2127FDF7}"/>
              </a:ext>
            </a:extLst>
          </p:cNvPr>
          <p:cNvPicPr>
            <a:picLocks noChangeAspect="1"/>
          </p:cNvPicPr>
          <p:nvPr/>
        </p:nvPicPr>
        <p:blipFill>
          <a:blip r:embed="rId7"/>
          <a:stretch>
            <a:fillRect/>
          </a:stretch>
        </p:blipFill>
        <p:spPr>
          <a:xfrm>
            <a:off x="2064042" y="1175058"/>
            <a:ext cx="3363161" cy="5227281"/>
          </a:xfrm>
          <a:prstGeom prst="rect">
            <a:avLst/>
          </a:prstGeom>
        </p:spPr>
      </p:pic>
      <p:sp>
        <p:nvSpPr>
          <p:cNvPr id="107" name="Title 1">
            <a:extLst>
              <a:ext uri="{FF2B5EF4-FFF2-40B4-BE49-F238E27FC236}">
                <a16:creationId xmlns:a16="http://schemas.microsoft.com/office/drawing/2014/main" id="{F95A1854-0772-4C10-AF10-F6553B1816C6}"/>
              </a:ext>
            </a:extLst>
          </p:cNvPr>
          <p:cNvSpPr txBox="1"/>
          <p:nvPr/>
        </p:nvSpPr>
        <p:spPr>
          <a:xfrm>
            <a:off x="6470469" y="790337"/>
            <a:ext cx="4990011" cy="3847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0" kern="1200" spc="0" baseline="0">
                <a:ln w="6350" cap="flat">
                  <a:noFill/>
                  <a:miter lim="800000"/>
                </a:ln>
                <a:solidFill>
                  <a:schemeClr val="accent1"/>
                </a:solidFill>
                <a:latin typeface="+mj-lt"/>
                <a:ea typeface="+mj-ea"/>
                <a:cs typeface="+mj-cs"/>
              </a:defRPr>
            </a:lvl1pPr>
          </a:lstStyle>
          <a:p>
            <a:pPr rtl="0"/>
            <a:r>
              <a:rPr lang="zh-Hans" sz="2500" b="0" i="0" u="none" strike="noStrike">
                <a:highlight>
                  <a:srgbClr val="000000">
                    <a:alpha val="0"/>
                  </a:srgbClr>
                </a:highlight>
                <a:latin typeface="Simsun"/>
                <a:ea typeface="Simsun"/>
              </a:rPr>
              <a:t>......贯穿整个突发事件应对周期</a:t>
            </a:r>
          </a:p>
        </p:txBody>
      </p:sp>
    </p:spTree>
    <p:extLst>
      <p:ext uri="{BB962C8B-B14F-4D97-AF65-F5344CB8AC3E}">
        <p14:creationId xmlns:p14="http://schemas.microsoft.com/office/powerpoint/2010/main" val="35589635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DEF0C7-485D-4026-8DE9-9C893C19C742}"/>
              </a:ext>
            </a:extLst>
          </p:cNvPr>
          <p:cNvPicPr>
            <a:picLocks noChangeAspect="1"/>
          </p:cNvPicPr>
          <p:nvPr/>
        </p:nvPicPr>
        <p:blipFill>
          <a:blip r:embed="rId9"/>
          <a:stretch>
            <a:fillRect/>
          </a:stretch>
        </p:blipFill>
        <p:spPr>
          <a:xfrm>
            <a:off x="375050" y="1222368"/>
            <a:ext cx="3407959" cy="4895512"/>
          </a:xfrm>
          <a:prstGeom prst="rect">
            <a:avLst/>
          </a:prstGeom>
        </p:spPr>
      </p:pic>
      <p:graphicFrame>
        <p:nvGraphicFramePr>
          <p:cNvPr id="4" name="Object 3" hidden="1">
            <a:extLst>
              <a:ext uri="{FF2B5EF4-FFF2-40B4-BE49-F238E27FC236}">
                <a16:creationId xmlns:a16="http://schemas.microsoft.com/office/drawing/2014/main" id="{09B5CF1E-78FF-49F8-9586-307515372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0" name="OLE substitute image"/>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DF78E36F-4CE6-44DB-B3C2-C5FC32A3BF1A}"/>
              </a:ext>
            </a:extLst>
          </p:cNvPr>
          <p:cNvGrpSpPr/>
          <p:nvPr/>
        </p:nvGrpSpPr>
        <p:grpSpPr>
          <a:xfrm>
            <a:off x="4083907" y="1131562"/>
            <a:ext cx="4024187" cy="4047209"/>
            <a:chOff x="4073769" y="896419"/>
            <a:chExt cx="4024187" cy="4047209"/>
          </a:xfrm>
        </p:grpSpPr>
        <p:sp>
          <p:nvSpPr>
            <p:cNvPr id="25" name="Oval 24">
              <a:extLst>
                <a:ext uri="{FF2B5EF4-FFF2-40B4-BE49-F238E27FC236}">
                  <a16:creationId xmlns:a16="http://schemas.microsoft.com/office/drawing/2014/main" id="{DE6DC217-DB32-4709-8353-2363054A4EC1}"/>
                </a:ext>
              </a:extLst>
            </p:cNvPr>
            <p:cNvSpPr>
              <a:spLocks noChangeAspect="1"/>
            </p:cNvSpPr>
            <p:nvPr/>
          </p:nvSpPr>
          <p:spPr>
            <a:xfrm rot="2723860">
              <a:off x="4074436" y="90911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CC7D3348-C76F-4BBF-8CDF-11A027E52792}"/>
                </a:ext>
              </a:extLst>
            </p:cNvPr>
            <p:cNvSpPr>
              <a:spLocks noChangeAspect="1"/>
            </p:cNvSpPr>
            <p:nvPr/>
          </p:nvSpPr>
          <p:spPr>
            <a:xfrm rot="2723860">
              <a:off x="5762914" y="259522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D59EC92E-C2E9-489F-8E3F-13D6C1EF3DE2}"/>
                </a:ext>
              </a:extLst>
            </p:cNvPr>
            <p:cNvSpPr>
              <a:spLocks noChangeAspect="1"/>
            </p:cNvSpPr>
            <p:nvPr/>
          </p:nvSpPr>
          <p:spPr>
            <a:xfrm rot="2723860">
              <a:off x="5762914" y="89575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D36BC0B2-88F6-45BC-9DF0-9006ACA3376D}"/>
                </a:ext>
              </a:extLst>
            </p:cNvPr>
            <p:cNvSpPr>
              <a:spLocks noChangeAspect="1"/>
            </p:cNvSpPr>
            <p:nvPr/>
          </p:nvSpPr>
          <p:spPr>
            <a:xfrm rot="2723860">
              <a:off x="4074435" y="260858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gradFill>
              <a:prstDash val="solid"/>
            </a:ln>
            <a:effectLst/>
          </p:spPr>
          <p:txBody>
            <a:bodyPr wrap="none" lIns="0" tIns="0" rIns="0" bIns="0" rtlCol="0" anchor="ctr">
              <a:noAutofit/>
            </a:bodyPr>
            <a:lstStyle/>
            <a:p>
              <a:pPr marL="0" marR="0" lvl="0" indent="0" algn="ctr" defTabSz="914400" rtl="0" eaLnBrk="1" fontAlgn="auto" latinLnBrk="0" hangingPunct="1">
                <a:lnSpc>
                  <a:spcPct val="85000"/>
                </a:lnSpc>
                <a:spcBef>
                  <a:spcPct val="0"/>
                </a:spcBef>
                <a:spcAft>
                  <a:spcPct val="0"/>
                </a:spcAft>
                <a:buClrTx/>
                <a:buSzTx/>
                <a:buFontTx/>
                <a:buNone/>
                <a:defRPr/>
              </a:pPr>
              <a:endParaRPr kumimoji="0" lang="en-US" sz="1400" b="0" i="0" u="none" strike="noStrike" kern="0" cap="none" spc="-20" normalizeH="0" baseline="0" noProof="0" err="1">
                <a:ln>
                  <a:noFill/>
                </a:ln>
                <a:solidFill>
                  <a:prstClr val="black"/>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25D10EB8-048E-4EB9-81E4-B98BFB50E5C1}"/>
                </a:ext>
              </a:extLst>
            </p:cNvPr>
            <p:cNvSpPr>
              <a:spLocks noChangeAspect="1"/>
            </p:cNvSpPr>
            <p:nvPr/>
          </p:nvSpPr>
          <p:spPr>
            <a:xfrm>
              <a:off x="5058741" y="1881314"/>
              <a:ext cx="2087853" cy="2089045"/>
            </a:xfrm>
            <a:prstGeom prst="ellipse">
              <a:avLst/>
            </a:prstGeom>
            <a:gradFill flip="none" rotWithShape="1">
              <a:gsLst>
                <a:gs pos="79000">
                  <a:srgbClr val="002060"/>
                </a:gs>
                <a:gs pos="30000">
                  <a:srgbClr val="04A4EC"/>
                </a:gs>
              </a:gsLst>
              <a:lin ang="13500000" scaled="1"/>
            </a:gradFill>
            <a:ln w="10795" cap="flat" cmpd="sng" algn="ctr">
              <a:noFill/>
              <a:prstDash val="solid"/>
            </a:ln>
            <a:effectLst/>
          </p:spPr>
          <p:txBody>
            <a:bodyPr lIns="0" tIns="0" rIns="0" bIns="0" rtlCol="0" anchor="ctr">
              <a:noAutofit/>
            </a:bodyPr>
            <a:lstStyle/>
            <a:p>
              <a:pPr marL="0" marR="0" lvl="0" indent="0" algn="ctr" defTabSz="914400" rtl="0" eaLnBrk="1" fontAlgn="auto" latinLnBrk="0" hangingPunct="1">
                <a:lnSpc>
                  <a:spcPct val="95000"/>
                </a:lnSpc>
                <a:spcBef>
                  <a:spcPct val="0"/>
                </a:spcBef>
                <a:spcAft>
                  <a:spcPct val="0"/>
                </a:spcAft>
                <a:buClrTx/>
                <a:buSzTx/>
                <a:buFontTx/>
                <a:buNone/>
                <a:defRPr/>
              </a:pPr>
              <a:r>
                <a:rPr kumimoji="0" lang="zh-Hans" sz="1800" b="0" i="0" u="none" strike="noStrike" kern="0" cap="none" spc="0" normalizeH="0" baseline="0" noProof="0">
                  <a:solidFill>
                    <a:srgbClr val="FFFFFF"/>
                  </a:solidFill>
                  <a:highlight>
                    <a:srgbClr val="000000">
                      <a:alpha val="0"/>
                    </a:srgbClr>
                  </a:highlight>
                  <a:uLnTx/>
                  <a:uFillTx/>
                  <a:latin typeface="Simsun"/>
                  <a:ea typeface="Simsun"/>
                  <a:cs typeface="+mn-cs"/>
                </a:rPr>
                <a:t>突发事件应对协调</a:t>
              </a:r>
            </a:p>
          </p:txBody>
        </p:sp>
        <p:sp>
          <p:nvSpPr>
            <p:cNvPr id="32" name="TextBox 31">
              <a:extLst>
                <a:ext uri="{FF2B5EF4-FFF2-40B4-BE49-F238E27FC236}">
                  <a16:creationId xmlns:a16="http://schemas.microsoft.com/office/drawing/2014/main" id="{02FB79FA-6B51-4EE9-A8BA-B95B0099F814}"/>
                </a:ext>
              </a:extLst>
            </p:cNvPr>
            <p:cNvSpPr txBox="1"/>
            <p:nvPr/>
          </p:nvSpPr>
          <p:spPr>
            <a:xfrm>
              <a:off x="4306310" y="1430936"/>
              <a:ext cx="1543839" cy="646331"/>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协作监督</a:t>
              </a:r>
            </a:p>
          </p:txBody>
        </p:sp>
        <p:sp>
          <p:nvSpPr>
            <p:cNvPr id="33" name="TextBox 32">
              <a:extLst>
                <a:ext uri="{FF2B5EF4-FFF2-40B4-BE49-F238E27FC236}">
                  <a16:creationId xmlns:a16="http://schemas.microsoft.com/office/drawing/2014/main" id="{669E3D01-D3C9-45AD-A437-CD114337326F}"/>
                </a:ext>
              </a:extLst>
            </p:cNvPr>
            <p:cNvSpPr txBox="1"/>
            <p:nvPr/>
          </p:nvSpPr>
          <p:spPr>
            <a:xfrm>
              <a:off x="6086605" y="1431647"/>
              <a:ext cx="2004593" cy="612202"/>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环境</a:t>
              </a:r>
            </a:p>
          </p:txBody>
        </p:sp>
        <p:sp>
          <p:nvSpPr>
            <p:cNvPr id="34" name="TextBox 33">
              <a:extLst>
                <a:ext uri="{FF2B5EF4-FFF2-40B4-BE49-F238E27FC236}">
                  <a16:creationId xmlns:a16="http://schemas.microsoft.com/office/drawing/2014/main" id="{2F6EF038-A622-4619-85FA-4241ADB5E7F9}"/>
                </a:ext>
              </a:extLst>
            </p:cNvPr>
            <p:cNvSpPr txBox="1"/>
            <p:nvPr/>
          </p:nvSpPr>
          <p:spPr>
            <a:xfrm>
              <a:off x="6542731" y="3794661"/>
              <a:ext cx="1167438" cy="612202"/>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初级卫生保健</a:t>
              </a:r>
            </a:p>
          </p:txBody>
        </p:sp>
        <p:sp>
          <p:nvSpPr>
            <p:cNvPr id="35" name="TextBox 34">
              <a:extLst>
                <a:ext uri="{FF2B5EF4-FFF2-40B4-BE49-F238E27FC236}">
                  <a16:creationId xmlns:a16="http://schemas.microsoft.com/office/drawing/2014/main" id="{974226C4-4129-4C0E-BD8B-942A5749277D}"/>
                </a:ext>
              </a:extLst>
            </p:cNvPr>
            <p:cNvSpPr txBox="1"/>
            <p:nvPr/>
          </p:nvSpPr>
          <p:spPr>
            <a:xfrm>
              <a:off x="4209880" y="3865767"/>
              <a:ext cx="1877874" cy="646331"/>
            </a:xfrm>
            <a:prstGeom prst="rect">
              <a:avLst/>
            </a:prstGeom>
            <a:noFill/>
            <a:ln w="6350">
              <a:noFill/>
              <a:miter lim="800000"/>
            </a:ln>
          </p:spPr>
          <p:txBody>
            <a:bodyPr wrap="square">
              <a:noAutofit/>
            </a:bodyPr>
            <a:lstStyle/>
            <a:p>
              <a:pPr marL="0" marR="0" lvl="0" indent="0" algn="ctr" defTabSz="914400" rtl="0" eaLnBrk="1" fontAlgn="auto" latinLnBrk="0" hangingPunct="1">
                <a:lnSpc>
                  <a:spcPct val="100000"/>
                </a:lnSpc>
                <a:spcBef>
                  <a:spcPts val="300"/>
                </a:spcBef>
                <a:spcAft>
                  <a:spcPts val="300"/>
                </a:spcAft>
                <a:buClrTx/>
                <a:buSzTx/>
                <a:buFontTx/>
                <a:buNone/>
                <a:defRPr/>
              </a:pPr>
              <a:r>
                <a:rPr kumimoji="0" lang="zh-Hans" sz="1800" b="0" i="0" u="none" strike="noStrike" kern="1200" cap="none" spc="0" normalizeH="0" baseline="0" noProof="0">
                  <a:solidFill>
                    <a:srgbClr val="000000"/>
                  </a:solidFill>
                  <a:highlight>
                    <a:srgbClr val="000000">
                      <a:alpha val="0"/>
                    </a:srgbClr>
                  </a:highlight>
                  <a:uLnTx/>
                  <a:uFillTx/>
                  <a:latin typeface="Simsun"/>
                  <a:ea typeface="Simsun"/>
                  <a:cs typeface="+mn-cs"/>
                </a:rPr>
                <a:t>获取应对措施</a:t>
              </a:r>
            </a:p>
          </p:txBody>
        </p:sp>
      </p:grpSp>
      <p:cxnSp>
        <p:nvCxnSpPr>
          <p:cNvPr id="52" name="Straight Connector 51">
            <a:extLst>
              <a:ext uri="{FF2B5EF4-FFF2-40B4-BE49-F238E27FC236}">
                <a16:creationId xmlns:a16="http://schemas.microsoft.com/office/drawing/2014/main" id="{6F5811FE-045E-4780-9FB1-570F0A9147FA}"/>
              </a:ext>
            </a:extLst>
          </p:cNvPr>
          <p:cNvCxnSpPr/>
          <p:nvPr/>
        </p:nvCxnSpPr>
        <p:spPr>
          <a:xfrm flipH="1">
            <a:off x="3566284" y="1454343"/>
            <a:ext cx="140" cy="98764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LineSpecialityDiamond 70">
            <a:extLst>
              <a:ext uri="{FF2B5EF4-FFF2-40B4-BE49-F238E27FC236}">
                <a16:creationId xmlns:a16="http://schemas.microsoft.com/office/drawing/2014/main" id="{4C9F1A92-A32A-4547-B3AF-3CF9E2F8E1E0}"/>
              </a:ext>
            </a:extLst>
          </p:cNvPr>
          <p:cNvCxnSpPr/>
          <p:nvPr>
            <p:custDataLst>
              <p:tags r:id="rId2"/>
            </p:custDataLst>
          </p:nvPr>
        </p:nvCxnSpPr>
        <p:spPr>
          <a:xfrm>
            <a:off x="3566424" y="1870858"/>
            <a:ext cx="37953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8" name="LineSpecialityDiamond 70">
            <a:extLst>
              <a:ext uri="{FF2B5EF4-FFF2-40B4-BE49-F238E27FC236}">
                <a16:creationId xmlns:a16="http://schemas.microsoft.com/office/drawing/2014/main" id="{7D63357E-875A-4F8A-B89E-2E7F80EA6A48}"/>
              </a:ext>
            </a:extLst>
          </p:cNvPr>
          <p:cNvCxnSpPr/>
          <p:nvPr>
            <p:custDataLst>
              <p:tags r:id="rId3"/>
            </p:custDataLst>
          </p:nvPr>
        </p:nvCxnSpPr>
        <p:spPr>
          <a:xfrm>
            <a:off x="3566284" y="4527613"/>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1B033AC-26BF-4B55-AAE3-461EE811D35D}"/>
              </a:ext>
            </a:extLst>
          </p:cNvPr>
          <p:cNvCxnSpPr/>
          <p:nvPr/>
        </p:nvCxnSpPr>
        <p:spPr>
          <a:xfrm flipH="1">
            <a:off x="3566424" y="3949831"/>
            <a:ext cx="0" cy="107440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1E52A0-2A8C-452F-8921-53D0D68397AD}"/>
              </a:ext>
            </a:extLst>
          </p:cNvPr>
          <p:cNvCxnSpPr/>
          <p:nvPr/>
        </p:nvCxnSpPr>
        <p:spPr>
          <a:xfrm flipH="1">
            <a:off x="8620630" y="1666079"/>
            <a:ext cx="0" cy="77590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LineSpecialityDiamond 70">
            <a:extLst>
              <a:ext uri="{FF2B5EF4-FFF2-40B4-BE49-F238E27FC236}">
                <a16:creationId xmlns:a16="http://schemas.microsoft.com/office/drawing/2014/main" id="{DA547FE1-D866-419E-86FE-C8558110015C}"/>
              </a:ext>
            </a:extLst>
          </p:cNvPr>
          <p:cNvCxnSpPr/>
          <p:nvPr>
            <p:custDataLst>
              <p:tags r:id="rId4"/>
            </p:custDataLst>
          </p:nvPr>
        </p:nvCxnSpPr>
        <p:spPr>
          <a:xfrm flipH="1">
            <a:off x="8240960" y="2021464"/>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C081969-5E59-415A-B1AC-F2F10377219E}"/>
              </a:ext>
            </a:extLst>
          </p:cNvPr>
          <p:cNvCxnSpPr/>
          <p:nvPr/>
        </p:nvCxnSpPr>
        <p:spPr>
          <a:xfrm flipH="1">
            <a:off x="8620630" y="3707073"/>
            <a:ext cx="0" cy="9944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LineSpecialityDiamond 70">
            <a:extLst>
              <a:ext uri="{FF2B5EF4-FFF2-40B4-BE49-F238E27FC236}">
                <a16:creationId xmlns:a16="http://schemas.microsoft.com/office/drawing/2014/main" id="{4B3B04DE-9875-4859-8A5F-736F45CEF8BD}"/>
              </a:ext>
            </a:extLst>
          </p:cNvPr>
          <p:cNvCxnSpPr/>
          <p:nvPr>
            <p:custDataLst>
              <p:tags r:id="rId5"/>
            </p:custDataLst>
          </p:nvPr>
        </p:nvCxnSpPr>
        <p:spPr>
          <a:xfrm flipH="1">
            <a:off x="8240960" y="4204884"/>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7B6A0491-DFF8-4824-8A0F-85E47F20432C}"/>
              </a:ext>
            </a:extLst>
          </p:cNvPr>
          <p:cNvSpPr>
            <a:spLocks noGrp="1"/>
          </p:cNvSpPr>
          <p:nvPr>
            <p:ph type="title"/>
          </p:nvPr>
        </p:nvSpPr>
        <p:spPr>
          <a:xfrm>
            <a:off x="554736" y="136470"/>
            <a:ext cx="11082528" cy="769441"/>
          </a:xfrm>
          <a:noFill/>
          <a:extLst>
            <a:ext uri="{909E8E84-426E-40DD-AFC4-6F175D3DCCD1}">
              <a14:hiddenFill xmlns:a14="http://schemas.microsoft.com/office/drawing/2010/main">
                <a:solidFill>
                  <a:srgbClr val="FFFFFF"/>
                </a:solidFill>
              </a14:hiddenFill>
            </a:ext>
          </a:extLst>
        </p:spPr>
        <p:txBody>
          <a:bodyPr vert="horz" wrap="square" anchor="b" anchorCtr="0">
            <a:noAutofit/>
          </a:bodyPr>
          <a:lstStyle/>
          <a:p>
            <a:pPr rtl="0"/>
            <a:r>
              <a:rPr lang="zh-Hans" sz="3200" b="0" i="0" u="none" strike="noStrike" dirty="0">
                <a:highlight>
                  <a:srgbClr val="000000">
                    <a:alpha val="0"/>
                  </a:srgbClr>
                </a:highlight>
                <a:latin typeface="Simsun"/>
                <a:ea typeface="Simsun"/>
              </a:rPr>
              <a:t>通过包容性的合作和共同创造伙伴关系，</a:t>
            </a:r>
            <a:r>
              <a:rPr lang="zh-CN" altLang="en-US" dirty="0">
                <a:highlight>
                  <a:srgbClr val="000000">
                    <a:alpha val="0"/>
                  </a:srgbClr>
                </a:highlight>
                <a:latin typeface="Simsun"/>
                <a:ea typeface="Simsun"/>
              </a:rPr>
              <a:t>汇聚</a:t>
            </a:r>
            <a:r>
              <a:rPr lang="zh-Hans" sz="3200" b="0" i="0" u="none" strike="noStrike" dirty="0">
                <a:highlight>
                  <a:srgbClr val="000000">
                    <a:alpha val="0"/>
                  </a:srgbClr>
                </a:highlight>
                <a:latin typeface="Simsun"/>
                <a:ea typeface="Simsun"/>
              </a:rPr>
              <a:t>复杂的生态系统</a:t>
            </a:r>
          </a:p>
        </p:txBody>
      </p:sp>
      <p:cxnSp>
        <p:nvCxnSpPr>
          <p:cNvPr id="88" name="Straight Connector 87">
            <a:extLst>
              <a:ext uri="{FF2B5EF4-FFF2-40B4-BE49-F238E27FC236}">
                <a16:creationId xmlns:a16="http://schemas.microsoft.com/office/drawing/2014/main" id="{B4EE9CD6-45C1-4FD8-A258-F565C72F3011}"/>
              </a:ext>
            </a:extLst>
          </p:cNvPr>
          <p:cNvCxnSpPr/>
          <p:nvPr/>
        </p:nvCxnSpPr>
        <p:spPr>
          <a:xfrm>
            <a:off x="4075611" y="5289356"/>
            <a:ext cx="3857898" cy="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LineSpecialityDiamond 70">
            <a:extLst>
              <a:ext uri="{FF2B5EF4-FFF2-40B4-BE49-F238E27FC236}">
                <a16:creationId xmlns:a16="http://schemas.microsoft.com/office/drawing/2014/main" id="{BF99F9C3-E52E-473A-B2E4-2B6B18AAE4AD}"/>
              </a:ext>
            </a:extLst>
          </p:cNvPr>
          <p:cNvCxnSpPr/>
          <p:nvPr>
            <p:custDataLst>
              <p:tags r:id="rId6"/>
            </p:custDataLst>
          </p:nvPr>
        </p:nvCxnSpPr>
        <p:spPr>
          <a:xfrm flipH="1" flipV="1">
            <a:off x="6095944" y="3750473"/>
            <a:ext cx="0" cy="1538883"/>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27C5245-8830-4F2A-92B4-38642427ECFB}"/>
              </a:ext>
            </a:extLst>
          </p:cNvPr>
          <p:cNvPicPr>
            <a:picLocks noChangeAspect="1"/>
          </p:cNvPicPr>
          <p:nvPr/>
        </p:nvPicPr>
        <p:blipFill>
          <a:blip r:embed="rId12"/>
          <a:stretch>
            <a:fillRect/>
          </a:stretch>
        </p:blipFill>
        <p:spPr>
          <a:xfrm>
            <a:off x="8910047" y="1271463"/>
            <a:ext cx="3188484" cy="3999323"/>
          </a:xfrm>
          <a:prstGeom prst="rect">
            <a:avLst/>
          </a:prstGeom>
        </p:spPr>
      </p:pic>
      <p:pic>
        <p:nvPicPr>
          <p:cNvPr id="6" name="Picture 5">
            <a:extLst>
              <a:ext uri="{FF2B5EF4-FFF2-40B4-BE49-F238E27FC236}">
                <a16:creationId xmlns:a16="http://schemas.microsoft.com/office/drawing/2014/main" id="{ED4B7A0B-0B10-4EF2-9890-A73094CB6816}"/>
              </a:ext>
            </a:extLst>
          </p:cNvPr>
          <p:cNvPicPr>
            <a:picLocks noChangeAspect="1"/>
          </p:cNvPicPr>
          <p:nvPr/>
        </p:nvPicPr>
        <p:blipFill>
          <a:blip r:embed="rId13"/>
          <a:stretch>
            <a:fillRect/>
          </a:stretch>
        </p:blipFill>
        <p:spPr>
          <a:xfrm>
            <a:off x="4220018" y="5482038"/>
            <a:ext cx="3676207" cy="1182727"/>
          </a:xfrm>
          <a:prstGeom prst="rect">
            <a:avLst/>
          </a:prstGeom>
        </p:spPr>
      </p:pic>
      <p:sp>
        <p:nvSpPr>
          <p:cNvPr id="7" name="Rectangle 6">
            <a:extLst>
              <a:ext uri="{FF2B5EF4-FFF2-40B4-BE49-F238E27FC236}">
                <a16:creationId xmlns:a16="http://schemas.microsoft.com/office/drawing/2014/main" id="{1370040A-0A9D-4EA2-A912-AE3BB3251D8B}"/>
              </a:ext>
            </a:extLst>
          </p:cNvPr>
          <p:cNvSpPr/>
          <p:nvPr/>
        </p:nvSpPr>
        <p:spPr>
          <a:xfrm>
            <a:off x="375050" y="2614108"/>
            <a:ext cx="2936201" cy="69924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Rectangle 27">
            <a:extLst>
              <a:ext uri="{FF2B5EF4-FFF2-40B4-BE49-F238E27FC236}">
                <a16:creationId xmlns:a16="http://schemas.microsoft.com/office/drawing/2014/main" id="{F29CCC6E-DDA3-45C9-8473-F6A24B725E9C}"/>
              </a:ext>
            </a:extLst>
          </p:cNvPr>
          <p:cNvSpPr/>
          <p:nvPr/>
        </p:nvSpPr>
        <p:spPr>
          <a:xfrm>
            <a:off x="444308" y="5175446"/>
            <a:ext cx="3156364" cy="93626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9" name="Rectangle 28">
            <a:extLst>
              <a:ext uri="{FF2B5EF4-FFF2-40B4-BE49-F238E27FC236}">
                <a16:creationId xmlns:a16="http://schemas.microsoft.com/office/drawing/2014/main" id="{1BCBA0FF-620A-47BA-96A2-16401FE2940D}"/>
              </a:ext>
            </a:extLst>
          </p:cNvPr>
          <p:cNvSpPr/>
          <p:nvPr/>
        </p:nvSpPr>
        <p:spPr>
          <a:xfrm>
            <a:off x="8965359" y="4859713"/>
            <a:ext cx="3156364" cy="54062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0" name="Rectangle 29">
            <a:extLst>
              <a:ext uri="{FF2B5EF4-FFF2-40B4-BE49-F238E27FC236}">
                <a16:creationId xmlns:a16="http://schemas.microsoft.com/office/drawing/2014/main" id="{3953E277-C18E-4E22-9375-644A4BAAB419}"/>
              </a:ext>
            </a:extLst>
          </p:cNvPr>
          <p:cNvSpPr/>
          <p:nvPr/>
        </p:nvSpPr>
        <p:spPr>
          <a:xfrm>
            <a:off x="8734784" y="2651884"/>
            <a:ext cx="3156364" cy="54062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169540445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1FFA5-B500-42BC-B471-57DDDEBFBF2F}"/>
              </a:ext>
            </a:extLst>
          </p:cNvPr>
          <p:cNvSpPr>
            <a:spLocks noGrp="1"/>
          </p:cNvSpPr>
          <p:nvPr>
            <p:ph type="ctrTitle"/>
          </p:nvPr>
        </p:nvSpPr>
        <p:spPr/>
        <p:txBody>
          <a:bodyPr>
            <a:noAutofit/>
          </a:bodyPr>
          <a:lstStyle/>
          <a:p>
            <a:endParaRPr lang="en-US"/>
          </a:p>
        </p:txBody>
      </p:sp>
      <p:sp>
        <p:nvSpPr>
          <p:cNvPr id="3" name="Subtitle 2">
            <a:extLst>
              <a:ext uri="{FF2B5EF4-FFF2-40B4-BE49-F238E27FC236}">
                <a16:creationId xmlns:a16="http://schemas.microsoft.com/office/drawing/2014/main" id="{BC57DC49-1E91-4D27-A20C-7AED06DE5F15}"/>
              </a:ext>
            </a:extLst>
          </p:cNvPr>
          <p:cNvSpPr>
            <a:spLocks noGrp="1"/>
          </p:cNvSpPr>
          <p:nvPr>
            <p:ph type="subTitle" idx="1"/>
          </p:nvPr>
        </p:nvSpPr>
        <p:spPr/>
        <p:txBody>
          <a:bodyPr>
            <a:noAutofit/>
          </a:bodyPr>
          <a:lstStyle/>
          <a:p>
            <a:endParaRPr lang="en-US"/>
          </a:p>
        </p:txBody>
      </p:sp>
      <p:sp>
        <p:nvSpPr>
          <p:cNvPr id="5" name="Title 1">
            <a:extLst>
              <a:ext uri="{FF2B5EF4-FFF2-40B4-BE49-F238E27FC236}">
                <a16:creationId xmlns:a16="http://schemas.microsoft.com/office/drawing/2014/main" id="{889DE33E-5593-4784-A53B-D41580AA7AF6}"/>
              </a:ext>
            </a:extLst>
          </p:cNvPr>
          <p:cNvSpPr txBox="1"/>
          <p:nvPr/>
        </p:nvSpPr>
        <p:spPr>
          <a:xfrm>
            <a:off x="457200" y="437337"/>
            <a:ext cx="11277600" cy="1004888"/>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ct val="0"/>
              </a:spcAft>
              <a:buClrTx/>
              <a:buSzTx/>
              <a:buFontTx/>
              <a:buNone/>
              <a:defRPr/>
            </a:pPr>
            <a:r>
              <a:rPr kumimoji="0" lang="zh-Hans" sz="2800" b="0" i="0" u="none" strike="noStrike" kern="1200" cap="none" spc="0" normalizeH="0" baseline="0" noProof="0">
                <a:solidFill>
                  <a:srgbClr val="000000"/>
                </a:solidFill>
                <a:highlight>
                  <a:srgbClr val="000000">
                    <a:alpha val="0"/>
                  </a:srgbClr>
                </a:highlight>
                <a:uLnTx/>
                <a:uFillTx/>
                <a:latin typeface="Simsun"/>
                <a:ea typeface="Simsun"/>
                <a:cs typeface="+mj-cs"/>
              </a:rPr>
              <a:t>与加强卫生安全的全球进程完全一致</a:t>
            </a:r>
            <a:endParaRPr kumimoji="0" lang="en-US" sz="2800" b="0" i="0" u="none" strike="noStrike" kern="1200" cap="none" spc="0" normalizeH="0" baseline="0" noProof="0">
              <a:ln>
                <a:noFill/>
              </a:ln>
              <a:solidFill>
                <a:prstClr val="black"/>
              </a:solidFill>
              <a:effectLst/>
              <a:uLnTx/>
              <a:uFillTx/>
              <a:latin typeface="Calibri Light" panose="020F0302020204030204"/>
              <a:ea typeface="+mj-ea"/>
              <a:cs typeface="+mj-cs"/>
            </a:endParaRPr>
          </a:p>
        </p:txBody>
      </p:sp>
      <p:sp>
        <p:nvSpPr>
          <p:cNvPr id="6" name="TextBox 5">
            <a:extLst>
              <a:ext uri="{FF2B5EF4-FFF2-40B4-BE49-F238E27FC236}">
                <a16:creationId xmlns:a16="http://schemas.microsoft.com/office/drawing/2014/main" id="{BB77D246-E3AF-4D1D-8A06-E54AA1A8D5E8}"/>
              </a:ext>
            </a:extLst>
          </p:cNvPr>
          <p:cNvSpPr txBox="1"/>
          <p:nvPr/>
        </p:nvSpPr>
        <p:spPr>
          <a:xfrm>
            <a:off x="7391481" y="5802021"/>
            <a:ext cx="3813514" cy="84638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1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INB		政府间谈判机构</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100" b="1" i="0" u="none" strike="noStrike" kern="0" cap="none" spc="0" normalizeH="0" baseline="0" noProof="0">
                <a:solidFill>
                  <a:srgbClr val="132330"/>
                </a:solidFill>
                <a:highlight>
                  <a:srgbClr val="000000">
                    <a:alpha val="0"/>
                  </a:srgbClr>
                </a:highlight>
                <a:uLnTx/>
                <a:uFillTx/>
                <a:latin typeface="Simsun"/>
                <a:ea typeface="Simsun"/>
                <a:cs typeface="Arial"/>
                <a:sym typeface="Arial"/>
              </a:rPr>
              <a:t>WHA		世卫大会</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1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WGIHR	IHR修订工作组	</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endParaRPr kumimoji="0" lang="en-US" sz="1100" b="1" i="0" u="none" strike="noStrike" kern="0" cap="none" spc="0" normalizeH="0" baseline="0" noProof="0">
              <a:ln>
                <a:noFill/>
              </a:ln>
              <a:solidFill>
                <a:srgbClr val="132330"/>
              </a:solidFill>
              <a:effectLst/>
              <a:uLnTx/>
              <a:uFillTx/>
              <a:latin typeface="Arial"/>
              <a:ea typeface="+mn-ea"/>
              <a:cs typeface="Arial"/>
              <a:sym typeface="Arial"/>
            </a:endParaRP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endParaRPr kumimoji="0" lang="en-US" sz="1100" b="0" i="1" u="none" strike="noStrike" kern="0" cap="none" spc="0" normalizeH="0" baseline="0" noProof="0">
              <a:ln>
                <a:noFill/>
              </a:ln>
              <a:solidFill>
                <a:srgbClr val="FFFFFF"/>
              </a:solidFill>
              <a:effectLst/>
              <a:uLnTx/>
              <a:uFillTx/>
              <a:latin typeface="Arial"/>
              <a:ea typeface="+mn-ea"/>
              <a:cs typeface="Arial" panose="020B0604020202020204" pitchFamily="34" charset="0"/>
              <a:sym typeface="Arial"/>
            </a:endParaRPr>
          </a:p>
        </p:txBody>
      </p:sp>
      <p:grpSp>
        <p:nvGrpSpPr>
          <p:cNvPr id="7" name="Group 6">
            <a:extLst>
              <a:ext uri="{FF2B5EF4-FFF2-40B4-BE49-F238E27FC236}">
                <a16:creationId xmlns:a16="http://schemas.microsoft.com/office/drawing/2014/main" id="{94013AA5-BC42-4DC2-9975-C961C2664540}"/>
              </a:ext>
            </a:extLst>
          </p:cNvPr>
          <p:cNvGrpSpPr/>
          <p:nvPr/>
        </p:nvGrpSpPr>
        <p:grpSpPr>
          <a:xfrm>
            <a:off x="888578" y="834826"/>
            <a:ext cx="9920012" cy="5201834"/>
            <a:chOff x="756498" y="1109146"/>
            <a:chExt cx="9920012" cy="5201834"/>
          </a:xfrm>
        </p:grpSpPr>
        <p:grpSp>
          <p:nvGrpSpPr>
            <p:cNvPr id="8" name="Group 7">
              <a:extLst>
                <a:ext uri="{FF2B5EF4-FFF2-40B4-BE49-F238E27FC236}">
                  <a16:creationId xmlns:a16="http://schemas.microsoft.com/office/drawing/2014/main" id="{7C4B706F-216E-46AF-8AA7-3202F8495EB3}"/>
                </a:ext>
              </a:extLst>
            </p:cNvPr>
            <p:cNvGrpSpPr/>
            <p:nvPr/>
          </p:nvGrpSpPr>
          <p:grpSpPr>
            <a:xfrm>
              <a:off x="756498" y="1109146"/>
              <a:ext cx="9920012" cy="5201834"/>
              <a:chOff x="-14012" y="1109159"/>
              <a:chExt cx="9920012" cy="5438695"/>
            </a:xfrm>
          </p:grpSpPr>
          <p:sp>
            <p:nvSpPr>
              <p:cNvPr id="18" name="Rectangle 17">
                <a:extLst>
                  <a:ext uri="{FF2B5EF4-FFF2-40B4-BE49-F238E27FC236}">
                    <a16:creationId xmlns:a16="http://schemas.microsoft.com/office/drawing/2014/main" id="{8A375909-EB1F-4F52-BA98-730FE987515F}"/>
                  </a:ext>
                </a:extLst>
              </p:cNvPr>
              <p:cNvSpPr/>
              <p:nvPr/>
            </p:nvSpPr>
            <p:spPr>
              <a:xfrm>
                <a:off x="-1454" y="1109159"/>
                <a:ext cx="9907454" cy="5125865"/>
              </a:xfrm>
              <a:prstGeom prst="rect">
                <a:avLst/>
              </a:prstGeom>
              <a:solidFill>
                <a:srgbClr val="E6E6E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defRPr/>
                </a:pPr>
                <a:endParaRPr kumimoji="0" lang="en-US" sz="1300" b="0" i="0" u="none" strike="noStrike" kern="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51399D01-C81A-4636-922A-EC9A3B851DF6}"/>
                  </a:ext>
                </a:extLst>
              </p:cNvPr>
              <p:cNvSpPr/>
              <p:nvPr/>
            </p:nvSpPr>
            <p:spPr>
              <a:xfrm>
                <a:off x="6800" y="2121579"/>
                <a:ext cx="9896215" cy="4092007"/>
              </a:xfrm>
              <a:custGeom>
                <a:avLst/>
                <a:gdLst>
                  <a:gd name="connsiteX0" fmla="*/ 7441 w 9295320"/>
                  <a:gd name="connsiteY0" fmla="*/ 4260272 h 4260272"/>
                  <a:gd name="connsiteX1" fmla="*/ 0 w 9295320"/>
                  <a:gd name="connsiteY1" fmla="*/ 646545 h 4260272"/>
                  <a:gd name="connsiteX2" fmla="*/ 480292 w 9295320"/>
                  <a:gd name="connsiteY2" fmla="*/ 387926 h 4260272"/>
                  <a:gd name="connsiteX3" fmla="*/ 1071418 w 9295320"/>
                  <a:gd name="connsiteY3" fmla="*/ 0 h 4260272"/>
                  <a:gd name="connsiteX4" fmla="*/ 1551709 w 9295320"/>
                  <a:gd name="connsiteY4" fmla="*/ 36943 h 4260272"/>
                  <a:gd name="connsiteX5" fmla="*/ 2161308 w 9295320"/>
                  <a:gd name="connsiteY5" fmla="*/ 350981 h 4260272"/>
                  <a:gd name="connsiteX6" fmla="*/ 3048000 w 9295320"/>
                  <a:gd name="connsiteY6" fmla="*/ 609600 h 4260272"/>
                  <a:gd name="connsiteX7" fmla="*/ 3657600 w 9295320"/>
                  <a:gd name="connsiteY7" fmla="*/ 969412 h 4260272"/>
                  <a:gd name="connsiteX8" fmla="*/ 4267200 w 9295320"/>
                  <a:gd name="connsiteY8" fmla="*/ 868217 h 4260272"/>
                  <a:gd name="connsiteX9" fmla="*/ 4950691 w 9295320"/>
                  <a:gd name="connsiteY9" fmla="*/ 1256145 h 4260272"/>
                  <a:gd name="connsiteX10" fmla="*/ 6299199 w 9295320"/>
                  <a:gd name="connsiteY10" fmla="*/ 775855 h 4260272"/>
                  <a:gd name="connsiteX11" fmla="*/ 6668654 w 9295320"/>
                  <a:gd name="connsiteY11" fmla="*/ 341339 h 4260272"/>
                  <a:gd name="connsiteX12" fmla="*/ 7296727 w 9295320"/>
                  <a:gd name="connsiteY12" fmla="*/ 18470 h 4260272"/>
                  <a:gd name="connsiteX13" fmla="*/ 7961746 w 9295320"/>
                  <a:gd name="connsiteY13" fmla="*/ 210960 h 4260272"/>
                  <a:gd name="connsiteX14" fmla="*/ 8312727 w 9295320"/>
                  <a:gd name="connsiteY14" fmla="*/ 498762 h 4260272"/>
                  <a:gd name="connsiteX15" fmla="*/ 9291783 w 9295320"/>
                  <a:gd name="connsiteY15" fmla="*/ 683491 h 4260272"/>
                  <a:gd name="connsiteX16" fmla="*/ 9295320 w 9295320"/>
                  <a:gd name="connsiteY16" fmla="*/ 4250805 h 4260272"/>
                  <a:gd name="connsiteX17" fmla="*/ 7441 w 9295320"/>
                  <a:gd name="connsiteY17" fmla="*/ 4260272 h 4260272"/>
                  <a:gd name="connsiteX18" fmla="*/ 18473 w 9291783"/>
                  <a:gd name="connsiteY18" fmla="*/ 3897747 h 3897747"/>
                  <a:gd name="connsiteX19" fmla="*/ 0 w 12376727"/>
                  <a:gd name="connsiteY19" fmla="*/ 1902691 h 192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95320" h="4260272">
                    <a:moveTo>
                      <a:pt x="7441" y="4260272"/>
                    </a:moveTo>
                    <a:cubicBezTo>
                      <a:pt x="1283" y="2979496"/>
                      <a:pt x="6158" y="1927321"/>
                      <a:pt x="0" y="646545"/>
                    </a:cubicBezTo>
                    <a:lnTo>
                      <a:pt x="480292" y="387926"/>
                    </a:lnTo>
                    <a:lnTo>
                      <a:pt x="1071418" y="0"/>
                    </a:lnTo>
                    <a:lnTo>
                      <a:pt x="1551709" y="36943"/>
                    </a:lnTo>
                    <a:lnTo>
                      <a:pt x="2161308" y="350981"/>
                    </a:lnTo>
                    <a:lnTo>
                      <a:pt x="3048000" y="609600"/>
                    </a:lnTo>
                    <a:lnTo>
                      <a:pt x="3657600" y="969412"/>
                    </a:lnTo>
                    <a:lnTo>
                      <a:pt x="4267200" y="868217"/>
                    </a:lnTo>
                    <a:lnTo>
                      <a:pt x="4950691" y="1256145"/>
                    </a:lnTo>
                    <a:lnTo>
                      <a:pt x="6299199" y="775855"/>
                    </a:lnTo>
                    <a:lnTo>
                      <a:pt x="6668654" y="341339"/>
                    </a:lnTo>
                    <a:lnTo>
                      <a:pt x="7296727" y="18470"/>
                    </a:lnTo>
                    <a:lnTo>
                      <a:pt x="7961746" y="210960"/>
                    </a:lnTo>
                    <a:lnTo>
                      <a:pt x="8312727" y="498762"/>
                    </a:lnTo>
                    <a:lnTo>
                      <a:pt x="9291783" y="683491"/>
                    </a:lnTo>
                    <a:lnTo>
                      <a:pt x="9295320" y="4250805"/>
                    </a:lnTo>
                    <a:lnTo>
                      <a:pt x="7441" y="4260272"/>
                    </a:lnTo>
                    <a:close/>
                  </a:path>
                </a:pathLst>
              </a:custGeom>
              <a:solidFill>
                <a:srgbClr val="17375E">
                  <a:lumMod val="75000"/>
                </a:srgbClr>
              </a:solidFill>
              <a:ln w="9525" cap="flat" cmpd="sng" algn="ctr">
                <a:noFill/>
                <a:prstDash val="solid"/>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9D759F5A-F276-419F-AC25-EE3D02F3551C}"/>
                  </a:ext>
                </a:extLst>
              </p:cNvPr>
              <p:cNvSpPr/>
              <p:nvPr/>
            </p:nvSpPr>
            <p:spPr>
              <a:xfrm>
                <a:off x="8081983" y="2258127"/>
                <a:ext cx="844974" cy="689386"/>
              </a:xfrm>
              <a:custGeom>
                <a:avLst/>
                <a:gdLst>
                  <a:gd name="connsiteX0" fmla="*/ 0 w 731565"/>
                  <a:gd name="connsiteY0" fmla="*/ 717734 h 717734"/>
                  <a:gd name="connsiteX1" fmla="*/ 725228 w 731565"/>
                  <a:gd name="connsiteY1" fmla="*/ 574325 h 717734"/>
                  <a:gd name="connsiteX2" fmla="*/ 337300 w 731565"/>
                  <a:gd name="connsiteY2" fmla="*/ 315707 h 717734"/>
                  <a:gd name="connsiteX3" fmla="*/ 60209 w 731565"/>
                  <a:gd name="connsiteY3" fmla="*/ 186398 h 717734"/>
                  <a:gd name="connsiteX4" fmla="*/ 216319 w 731565"/>
                  <a:gd name="connsiteY4" fmla="*/ 0 h 717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65" h="717734">
                    <a:moveTo>
                      <a:pt x="0" y="717734"/>
                    </a:moveTo>
                    <a:cubicBezTo>
                      <a:pt x="294024" y="685406"/>
                      <a:pt x="669011" y="641329"/>
                      <a:pt x="725228" y="574325"/>
                    </a:cubicBezTo>
                    <a:cubicBezTo>
                      <a:pt x="781445" y="507321"/>
                      <a:pt x="448137" y="380361"/>
                      <a:pt x="337300" y="315707"/>
                    </a:cubicBezTo>
                    <a:cubicBezTo>
                      <a:pt x="226464" y="251052"/>
                      <a:pt x="84839" y="235659"/>
                      <a:pt x="60209" y="186398"/>
                    </a:cubicBezTo>
                    <a:cubicBezTo>
                      <a:pt x="35579" y="137137"/>
                      <a:pt x="139349" y="58497"/>
                      <a:pt x="216319"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A7CC5DD-0422-4E87-AB80-1B384CD24745}"/>
                  </a:ext>
                </a:extLst>
              </p:cNvPr>
              <p:cNvSpPr/>
              <p:nvPr/>
            </p:nvSpPr>
            <p:spPr>
              <a:xfrm>
                <a:off x="6068" y="2664295"/>
                <a:ext cx="9896760" cy="3549291"/>
              </a:xfrm>
              <a:custGeom>
                <a:avLst/>
                <a:gdLst>
                  <a:gd name="connsiteX0" fmla="*/ 0 w 9295833"/>
                  <a:gd name="connsiteY0" fmla="*/ 3684387 h 3695239"/>
                  <a:gd name="connsiteX1" fmla="*/ 688 w 9295833"/>
                  <a:gd name="connsiteY1" fmla="*/ 1311565 h 3695239"/>
                  <a:gd name="connsiteX2" fmla="*/ 573343 w 9295833"/>
                  <a:gd name="connsiteY2" fmla="*/ 960583 h 3695239"/>
                  <a:gd name="connsiteX3" fmla="*/ 850433 w 9295833"/>
                  <a:gd name="connsiteY3" fmla="*/ 1514766 h 3695239"/>
                  <a:gd name="connsiteX4" fmla="*/ 1219888 w 9295833"/>
                  <a:gd name="connsiteY4" fmla="*/ 1274618 h 3695239"/>
                  <a:gd name="connsiteX5" fmla="*/ 2365196 w 9295833"/>
                  <a:gd name="connsiteY5" fmla="*/ 1145310 h 3695239"/>
                  <a:gd name="connsiteX6" fmla="*/ 3214942 w 9295833"/>
                  <a:gd name="connsiteY6" fmla="*/ 1330039 h 3695239"/>
                  <a:gd name="connsiteX7" fmla="*/ 3658288 w 9295833"/>
                  <a:gd name="connsiteY7" fmla="*/ 729269 h 3695239"/>
                  <a:gd name="connsiteX8" fmla="*/ 4193997 w 9295833"/>
                  <a:gd name="connsiteY8" fmla="*/ 461819 h 3695239"/>
                  <a:gd name="connsiteX9" fmla="*/ 5062215 w 9295833"/>
                  <a:gd name="connsiteY9" fmla="*/ 535711 h 3695239"/>
                  <a:gd name="connsiteX10" fmla="*/ 5838069 w 9295833"/>
                  <a:gd name="connsiteY10" fmla="*/ 480293 h 3695239"/>
                  <a:gd name="connsiteX11" fmla="*/ 6410724 w 9295833"/>
                  <a:gd name="connsiteY11" fmla="*/ 304396 h 3695239"/>
                  <a:gd name="connsiteX12" fmla="*/ 6798651 w 9295833"/>
                  <a:gd name="connsiteY12" fmla="*/ 0 h 3695239"/>
                  <a:gd name="connsiteX13" fmla="*/ 7962434 w 9295833"/>
                  <a:gd name="connsiteY13" fmla="*/ 377217 h 3695239"/>
                  <a:gd name="connsiteX14" fmla="*/ 8350361 w 9295833"/>
                  <a:gd name="connsiteY14" fmla="*/ 391624 h 3695239"/>
                  <a:gd name="connsiteX15" fmla="*/ 8850971 w 9295833"/>
                  <a:gd name="connsiteY15" fmla="*/ 197659 h 3695239"/>
                  <a:gd name="connsiteX16" fmla="*/ 9292471 w 9295833"/>
                  <a:gd name="connsiteY16" fmla="*/ 849748 h 3695239"/>
                  <a:gd name="connsiteX17" fmla="*/ 9295695 w 9295833"/>
                  <a:gd name="connsiteY17" fmla="*/ 3695239 h 3695239"/>
                  <a:gd name="connsiteX18" fmla="*/ 0 w 9295833"/>
                  <a:gd name="connsiteY18" fmla="*/ 3684387 h 3695239"/>
                  <a:gd name="connsiteX19" fmla="*/ 0 w 12376727"/>
                  <a:gd name="connsiteY19" fmla="*/ 1902691 h 192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95833" h="3695239">
                    <a:moveTo>
                      <a:pt x="0" y="3684387"/>
                    </a:moveTo>
                    <a:cubicBezTo>
                      <a:pt x="229" y="2893446"/>
                      <a:pt x="459" y="2102506"/>
                      <a:pt x="688" y="1311565"/>
                    </a:cubicBezTo>
                    <a:lnTo>
                      <a:pt x="573343" y="960583"/>
                    </a:lnTo>
                    <a:lnTo>
                      <a:pt x="850433" y="1514766"/>
                    </a:lnTo>
                    <a:lnTo>
                      <a:pt x="1219888" y="1274618"/>
                    </a:lnTo>
                    <a:lnTo>
                      <a:pt x="2365196" y="1145310"/>
                    </a:lnTo>
                    <a:lnTo>
                      <a:pt x="3214942" y="1330039"/>
                    </a:lnTo>
                    <a:lnTo>
                      <a:pt x="3658288" y="729269"/>
                    </a:lnTo>
                    <a:lnTo>
                      <a:pt x="4193997" y="461819"/>
                    </a:lnTo>
                    <a:lnTo>
                      <a:pt x="5062215" y="535711"/>
                    </a:lnTo>
                    <a:lnTo>
                      <a:pt x="5838069" y="480293"/>
                    </a:lnTo>
                    <a:lnTo>
                      <a:pt x="6410724" y="304396"/>
                    </a:lnTo>
                    <a:lnTo>
                      <a:pt x="6798651" y="0"/>
                    </a:lnTo>
                    <a:cubicBezTo>
                      <a:pt x="7131160" y="94951"/>
                      <a:pt x="7629925" y="282266"/>
                      <a:pt x="7962434" y="377217"/>
                    </a:cubicBezTo>
                    <a:lnTo>
                      <a:pt x="8350361" y="391624"/>
                    </a:lnTo>
                    <a:lnTo>
                      <a:pt x="8850971" y="197659"/>
                    </a:lnTo>
                    <a:lnTo>
                      <a:pt x="9292471" y="849748"/>
                    </a:lnTo>
                    <a:cubicBezTo>
                      <a:pt x="9291417" y="1871905"/>
                      <a:pt x="9296749" y="2673082"/>
                      <a:pt x="9295695" y="3695239"/>
                    </a:cubicBezTo>
                    <a:lnTo>
                      <a:pt x="0" y="3684387"/>
                    </a:lnTo>
                    <a:close/>
                  </a:path>
                </a:pathLst>
              </a:custGeom>
              <a:solidFill>
                <a:srgbClr val="B3B3B3"/>
              </a:solidFill>
              <a:ln w="9525" cap="flat" cmpd="sng" algn="ctr">
                <a:noFill/>
                <a:prstDash val="solid"/>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DBE9A2C-0030-4656-A451-633C02ABFB84}"/>
                  </a:ext>
                </a:extLst>
              </p:cNvPr>
              <p:cNvSpPr/>
              <p:nvPr/>
            </p:nvSpPr>
            <p:spPr>
              <a:xfrm>
                <a:off x="2853312" y="3873403"/>
                <a:ext cx="1451292" cy="609228"/>
              </a:xfrm>
              <a:custGeom>
                <a:avLst/>
                <a:gdLst>
                  <a:gd name="connsiteX0" fmla="*/ 1256505 w 1256505"/>
                  <a:gd name="connsiteY0" fmla="*/ 194799 h 194799"/>
                  <a:gd name="connsiteX1" fmla="*/ 536442 w 1256505"/>
                  <a:gd name="connsiteY1" fmla="*/ 147782 h 194799"/>
                  <a:gd name="connsiteX2" fmla="*/ 733 w 1256505"/>
                  <a:gd name="connsiteY2" fmla="*/ 147782 h 194799"/>
                  <a:gd name="connsiteX3" fmla="*/ 444078 w 1256505"/>
                  <a:gd name="connsiteY3" fmla="*/ 0 h 194799"/>
                </a:gdLst>
                <a:ahLst/>
                <a:cxnLst>
                  <a:cxn ang="0">
                    <a:pos x="connsiteX0" y="connsiteY0"/>
                  </a:cxn>
                  <a:cxn ang="0">
                    <a:pos x="connsiteX1" y="connsiteY1"/>
                  </a:cxn>
                  <a:cxn ang="0">
                    <a:pos x="connsiteX2" y="connsiteY2"/>
                  </a:cxn>
                  <a:cxn ang="0">
                    <a:pos x="connsiteX3" y="connsiteY3"/>
                  </a:cxn>
                </a:cxnLst>
                <a:rect l="l" t="t" r="r" b="b"/>
                <a:pathLst>
                  <a:path w="1256505" h="194799">
                    <a:moveTo>
                      <a:pt x="1256505" y="194799"/>
                    </a:moveTo>
                    <a:cubicBezTo>
                      <a:pt x="1062541" y="179405"/>
                      <a:pt x="745737" y="155618"/>
                      <a:pt x="536442" y="147782"/>
                    </a:cubicBezTo>
                    <a:cubicBezTo>
                      <a:pt x="327147" y="139946"/>
                      <a:pt x="16127" y="172412"/>
                      <a:pt x="733" y="147782"/>
                    </a:cubicBezTo>
                    <a:cubicBezTo>
                      <a:pt x="-14661" y="123152"/>
                      <a:pt x="214708" y="61576"/>
                      <a:pt x="444078"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67B7A669-D779-4DBC-8A05-6700631F43E9}"/>
                  </a:ext>
                </a:extLst>
              </p:cNvPr>
              <p:cNvSpPr/>
              <p:nvPr/>
            </p:nvSpPr>
            <p:spPr>
              <a:xfrm>
                <a:off x="5046302" y="2687957"/>
                <a:ext cx="3273030" cy="674776"/>
              </a:xfrm>
              <a:custGeom>
                <a:avLst/>
                <a:gdLst>
                  <a:gd name="connsiteX0" fmla="*/ 0 w 2833737"/>
                  <a:gd name="connsiteY0" fmla="*/ 456700 h 702524"/>
                  <a:gd name="connsiteX1" fmla="*/ 1112911 w 2833737"/>
                  <a:gd name="connsiteY1" fmla="*/ 698992 h 702524"/>
                  <a:gd name="connsiteX2" fmla="*/ 1704038 w 2833737"/>
                  <a:gd name="connsiteY2" fmla="*/ 600856 h 702524"/>
                  <a:gd name="connsiteX3" fmla="*/ 2350584 w 2833737"/>
                  <a:gd name="connsiteY3" fmla="*/ 600856 h 702524"/>
                  <a:gd name="connsiteX4" fmla="*/ 2830875 w 2833737"/>
                  <a:gd name="connsiteY4" fmla="*/ 416129 h 702524"/>
                  <a:gd name="connsiteX5" fmla="*/ 2128911 w 2833737"/>
                  <a:gd name="connsiteY5" fmla="*/ 286820 h 702524"/>
                  <a:gd name="connsiteX6" fmla="*/ 1981129 w 2833737"/>
                  <a:gd name="connsiteY6" fmla="*/ 139038 h 702524"/>
                  <a:gd name="connsiteX7" fmla="*/ 2095222 w 2833737"/>
                  <a:gd name="connsiteY7" fmla="*/ 0 h 70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3737" h="702524">
                    <a:moveTo>
                      <a:pt x="0" y="456700"/>
                    </a:moveTo>
                    <a:cubicBezTo>
                      <a:pt x="439312" y="616335"/>
                      <a:pt x="828905" y="674966"/>
                      <a:pt x="1112911" y="698992"/>
                    </a:cubicBezTo>
                    <a:cubicBezTo>
                      <a:pt x="1396917" y="723018"/>
                      <a:pt x="1497759" y="617212"/>
                      <a:pt x="1704038" y="600856"/>
                    </a:cubicBezTo>
                    <a:cubicBezTo>
                      <a:pt x="1910317" y="584500"/>
                      <a:pt x="2162778" y="631644"/>
                      <a:pt x="2350584" y="600856"/>
                    </a:cubicBezTo>
                    <a:cubicBezTo>
                      <a:pt x="2538390" y="570068"/>
                      <a:pt x="2867820" y="468468"/>
                      <a:pt x="2830875" y="416129"/>
                    </a:cubicBezTo>
                    <a:cubicBezTo>
                      <a:pt x="2793930" y="363790"/>
                      <a:pt x="2270535" y="333002"/>
                      <a:pt x="2128911" y="286820"/>
                    </a:cubicBezTo>
                    <a:cubicBezTo>
                      <a:pt x="1987287" y="240638"/>
                      <a:pt x="1993444" y="182141"/>
                      <a:pt x="1981129" y="139038"/>
                    </a:cubicBezTo>
                    <a:cubicBezTo>
                      <a:pt x="1968814" y="95935"/>
                      <a:pt x="2052119" y="33867"/>
                      <a:pt x="2095222"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B50A980B-0CA0-4FB8-8B9B-04E68BBB3412}"/>
                  </a:ext>
                </a:extLst>
              </p:cNvPr>
              <p:cNvSpPr/>
              <p:nvPr/>
            </p:nvSpPr>
            <p:spPr>
              <a:xfrm>
                <a:off x="1076644" y="3084830"/>
                <a:ext cx="2310243" cy="802716"/>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D9D9D9"/>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1E3E7959-2AD6-44BB-AC87-D917B9AC2653}"/>
                  </a:ext>
                </a:extLst>
              </p:cNvPr>
              <p:cNvSpPr/>
              <p:nvPr/>
            </p:nvSpPr>
            <p:spPr>
              <a:xfrm>
                <a:off x="0" y="3682421"/>
                <a:ext cx="9906000" cy="2531165"/>
              </a:xfrm>
              <a:custGeom>
                <a:avLst/>
                <a:gdLst>
                  <a:gd name="connsiteX0" fmla="*/ 0 w 9261198"/>
                  <a:gd name="connsiteY0" fmla="*/ 3144519 h 3144519"/>
                  <a:gd name="connsiteX1" fmla="*/ 6362 w 9261198"/>
                  <a:gd name="connsiteY1" fmla="*/ 1923472 h 3144519"/>
                  <a:gd name="connsiteX2" fmla="*/ 412762 w 9261198"/>
                  <a:gd name="connsiteY2" fmla="*/ 2108200 h 3144519"/>
                  <a:gd name="connsiteX3" fmla="*/ 948471 w 9261198"/>
                  <a:gd name="connsiteY3" fmla="*/ 1738745 h 3144519"/>
                  <a:gd name="connsiteX4" fmla="*/ 1373344 w 9261198"/>
                  <a:gd name="connsiteY4" fmla="*/ 1129144 h 3144519"/>
                  <a:gd name="connsiteX5" fmla="*/ 2093779 w 9261198"/>
                  <a:gd name="connsiteY5" fmla="*/ 1461653 h 3144519"/>
                  <a:gd name="connsiteX6" fmla="*/ 2647962 w 9261198"/>
                  <a:gd name="connsiteY6" fmla="*/ 1166091 h 3144519"/>
                  <a:gd name="connsiteX7" fmla="*/ 3497707 w 9261198"/>
                  <a:gd name="connsiteY7" fmla="*/ 1082558 h 3144519"/>
                  <a:gd name="connsiteX8" fmla="*/ 4199671 w 9261198"/>
                  <a:gd name="connsiteY8" fmla="*/ 925944 h 3144519"/>
                  <a:gd name="connsiteX9" fmla="*/ 5197198 w 9261198"/>
                  <a:gd name="connsiteY9" fmla="*/ 464127 h 3144519"/>
                  <a:gd name="connsiteX10" fmla="*/ 5529707 w 9261198"/>
                  <a:gd name="connsiteY10" fmla="*/ 223981 h 3144519"/>
                  <a:gd name="connsiteX11" fmla="*/ 5880689 w 9261198"/>
                  <a:gd name="connsiteY11" fmla="*/ 454485 h 3144519"/>
                  <a:gd name="connsiteX12" fmla="*/ 6693489 w 9261198"/>
                  <a:gd name="connsiteY12" fmla="*/ 316344 h 3144519"/>
                  <a:gd name="connsiteX13" fmla="*/ 7875744 w 9261198"/>
                  <a:gd name="connsiteY13" fmla="*/ 94672 h 3144519"/>
                  <a:gd name="connsiteX14" fmla="*/ 8503816 w 9261198"/>
                  <a:gd name="connsiteY14" fmla="*/ 445654 h 3144519"/>
                  <a:gd name="connsiteX15" fmla="*/ 9254293 w 9261198"/>
                  <a:gd name="connsiteY15" fmla="*/ 0 h 3144519"/>
                  <a:gd name="connsiteX16" fmla="*/ 9261198 w 9261198"/>
                  <a:gd name="connsiteY16" fmla="*/ 3143364 h 3144519"/>
                  <a:gd name="connsiteX17" fmla="*/ 0 w 9261198"/>
                  <a:gd name="connsiteY17" fmla="*/ 3144519 h 3144519"/>
                  <a:gd name="connsiteX18" fmla="*/ 0 w 11914909"/>
                  <a:gd name="connsiteY18" fmla="*/ 1902691 h 1921163"/>
                  <a:gd name="connsiteX19" fmla="*/ 0 w 12376727"/>
                  <a:gd name="connsiteY19" fmla="*/ 1902691 h 192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61198" h="3144519">
                    <a:moveTo>
                      <a:pt x="0" y="3144519"/>
                    </a:moveTo>
                    <a:cubicBezTo>
                      <a:pt x="2121" y="2737503"/>
                      <a:pt x="4241" y="2330488"/>
                      <a:pt x="6362" y="1923472"/>
                    </a:cubicBezTo>
                    <a:lnTo>
                      <a:pt x="412762" y="2108200"/>
                    </a:lnTo>
                    <a:lnTo>
                      <a:pt x="948471" y="1738745"/>
                    </a:lnTo>
                    <a:lnTo>
                      <a:pt x="1373344" y="1129144"/>
                    </a:lnTo>
                    <a:lnTo>
                      <a:pt x="2093779" y="1461653"/>
                    </a:lnTo>
                    <a:lnTo>
                      <a:pt x="2647962" y="1166091"/>
                    </a:lnTo>
                    <a:lnTo>
                      <a:pt x="3497707" y="1082558"/>
                    </a:lnTo>
                    <a:lnTo>
                      <a:pt x="4199671" y="925944"/>
                    </a:lnTo>
                    <a:lnTo>
                      <a:pt x="5197198" y="464127"/>
                    </a:lnTo>
                    <a:lnTo>
                      <a:pt x="5529707" y="223981"/>
                    </a:lnTo>
                    <a:lnTo>
                      <a:pt x="5880689" y="454485"/>
                    </a:lnTo>
                    <a:lnTo>
                      <a:pt x="6693489" y="316344"/>
                    </a:lnTo>
                    <a:lnTo>
                      <a:pt x="7875744" y="94672"/>
                    </a:lnTo>
                    <a:lnTo>
                      <a:pt x="8503816" y="445654"/>
                    </a:lnTo>
                    <a:lnTo>
                      <a:pt x="9254293" y="0"/>
                    </a:lnTo>
                    <a:cubicBezTo>
                      <a:pt x="9260450" y="1188412"/>
                      <a:pt x="9255041" y="1954952"/>
                      <a:pt x="9261198" y="3143364"/>
                    </a:cubicBezTo>
                    <a:lnTo>
                      <a:pt x="0" y="3144519"/>
                    </a:lnTo>
                    <a:close/>
                  </a:path>
                </a:pathLst>
              </a:custGeom>
              <a:solidFill>
                <a:srgbClr val="D9D9D9"/>
              </a:solidFill>
              <a:ln w="9525" cap="flat" cmpd="sng" algn="ctr">
                <a:noFill/>
                <a:prstDash val="solid"/>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046B2096-7BE3-4FC5-886D-A399CC94A36F}"/>
                  </a:ext>
                </a:extLst>
              </p:cNvPr>
              <p:cNvGrpSpPr/>
              <p:nvPr/>
            </p:nvGrpSpPr>
            <p:grpSpPr>
              <a:xfrm>
                <a:off x="-14012" y="4012528"/>
                <a:ext cx="9899198" cy="2535326"/>
                <a:chOff x="-17246" y="4147180"/>
                <a:chExt cx="12183630" cy="3120395"/>
              </a:xfrm>
            </p:grpSpPr>
            <p:sp>
              <p:nvSpPr>
                <p:cNvPr id="32" name="Freeform: Shape 31">
                  <a:extLst>
                    <a:ext uri="{FF2B5EF4-FFF2-40B4-BE49-F238E27FC236}">
                      <a16:creationId xmlns:a16="http://schemas.microsoft.com/office/drawing/2014/main" id="{D24A0A13-A659-4CB8-9E3E-DFEAF190FE66}"/>
                    </a:ext>
                  </a:extLst>
                </p:cNvPr>
                <p:cNvSpPr/>
                <p:nvPr/>
              </p:nvSpPr>
              <p:spPr>
                <a:xfrm>
                  <a:off x="-17246" y="4147180"/>
                  <a:ext cx="12183630" cy="2694581"/>
                </a:xfrm>
                <a:custGeom>
                  <a:avLst/>
                  <a:gdLst>
                    <a:gd name="connsiteX0" fmla="*/ 0 w 9409035"/>
                    <a:gd name="connsiteY0" fmla="*/ 1681711 h 1691178"/>
                    <a:gd name="connsiteX1" fmla="*/ 0 w 9409035"/>
                    <a:gd name="connsiteY1" fmla="*/ 1126836 h 1691178"/>
                    <a:gd name="connsiteX2" fmla="*/ 295563 w 9409035"/>
                    <a:gd name="connsiteY2" fmla="*/ 942109 h 1691178"/>
                    <a:gd name="connsiteX3" fmla="*/ 942109 w 9409035"/>
                    <a:gd name="connsiteY3" fmla="*/ 942109 h 1691178"/>
                    <a:gd name="connsiteX4" fmla="*/ 1865745 w 9409035"/>
                    <a:gd name="connsiteY4" fmla="*/ 517236 h 1691178"/>
                    <a:gd name="connsiteX5" fmla="*/ 2937163 w 9409035"/>
                    <a:gd name="connsiteY5" fmla="*/ 295563 h 1691178"/>
                    <a:gd name="connsiteX6" fmla="*/ 3472873 w 9409035"/>
                    <a:gd name="connsiteY6" fmla="*/ 646545 h 1691178"/>
                    <a:gd name="connsiteX7" fmla="*/ 4396509 w 9409035"/>
                    <a:gd name="connsiteY7" fmla="*/ 831272 h 1691178"/>
                    <a:gd name="connsiteX8" fmla="*/ 5080000 w 9409035"/>
                    <a:gd name="connsiteY8" fmla="*/ 757382 h 1691178"/>
                    <a:gd name="connsiteX9" fmla="*/ 5855854 w 9409035"/>
                    <a:gd name="connsiteY9" fmla="*/ 609600 h 1691178"/>
                    <a:gd name="connsiteX10" fmla="*/ 6668654 w 9409035"/>
                    <a:gd name="connsiteY10" fmla="*/ 720436 h 1691178"/>
                    <a:gd name="connsiteX11" fmla="*/ 7869382 w 9409035"/>
                    <a:gd name="connsiteY11" fmla="*/ 387927 h 1691178"/>
                    <a:gd name="connsiteX12" fmla="*/ 8719127 w 9409035"/>
                    <a:gd name="connsiteY12" fmla="*/ 55418 h 1691178"/>
                    <a:gd name="connsiteX13" fmla="*/ 9402618 w 9409035"/>
                    <a:gd name="connsiteY13" fmla="*/ 0 h 1691178"/>
                    <a:gd name="connsiteX14" fmla="*/ 9409035 w 9409035"/>
                    <a:gd name="connsiteY14" fmla="*/ 1691178 h 1691178"/>
                    <a:gd name="connsiteX15" fmla="*/ 0 w 9409035"/>
                    <a:gd name="connsiteY15" fmla="*/ 1681711 h 1691178"/>
                    <a:gd name="connsiteX16" fmla="*/ 0 w 10104582"/>
                    <a:gd name="connsiteY16" fmla="*/ 1902691 h 1921163"/>
                    <a:gd name="connsiteX17" fmla="*/ 0 w 11397673"/>
                    <a:gd name="connsiteY17" fmla="*/ 1902691 h 1921163"/>
                    <a:gd name="connsiteX18" fmla="*/ 0 w 11914909"/>
                    <a:gd name="connsiteY18" fmla="*/ 1902691 h 1921163"/>
                    <a:gd name="connsiteX19" fmla="*/ 0 w 12376727"/>
                    <a:gd name="connsiteY19" fmla="*/ 1902691 h 192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09035" h="1691178">
                      <a:moveTo>
                        <a:pt x="0" y="1681711"/>
                      </a:moveTo>
                      <a:lnTo>
                        <a:pt x="0" y="1126836"/>
                      </a:lnTo>
                      <a:lnTo>
                        <a:pt x="295563" y="942109"/>
                      </a:lnTo>
                      <a:lnTo>
                        <a:pt x="942109" y="942109"/>
                      </a:lnTo>
                      <a:lnTo>
                        <a:pt x="1865745" y="517236"/>
                      </a:lnTo>
                      <a:lnTo>
                        <a:pt x="2937163" y="295563"/>
                      </a:lnTo>
                      <a:lnTo>
                        <a:pt x="3472873" y="646545"/>
                      </a:lnTo>
                      <a:lnTo>
                        <a:pt x="4396509" y="831272"/>
                      </a:lnTo>
                      <a:lnTo>
                        <a:pt x="5080000" y="757382"/>
                      </a:lnTo>
                      <a:lnTo>
                        <a:pt x="5855854" y="609600"/>
                      </a:lnTo>
                      <a:lnTo>
                        <a:pt x="6668654" y="720436"/>
                      </a:lnTo>
                      <a:lnTo>
                        <a:pt x="7869382" y="387927"/>
                      </a:lnTo>
                      <a:lnTo>
                        <a:pt x="8719127" y="55418"/>
                      </a:lnTo>
                      <a:lnTo>
                        <a:pt x="9402618" y="0"/>
                      </a:lnTo>
                      <a:cubicBezTo>
                        <a:pt x="9402603" y="645006"/>
                        <a:pt x="9409050" y="1046172"/>
                        <a:pt x="9409035" y="1691178"/>
                      </a:cubicBezTo>
                      <a:lnTo>
                        <a:pt x="0" y="1681711"/>
                      </a:lnTo>
                      <a:close/>
                    </a:path>
                  </a:pathLst>
                </a:custGeom>
                <a:solidFill>
                  <a:srgbClr val="D9D9D9"/>
                </a:solidFill>
                <a:ln w="9525" cap="flat" cmpd="sng" algn="ctr">
                  <a:noFill/>
                  <a:prstDash val="solid"/>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0B0D414-BF1F-4C47-B7E2-30D5B7A91D47}"/>
                    </a:ext>
                  </a:extLst>
                </p:cNvPr>
                <p:cNvSpPr/>
                <p:nvPr/>
              </p:nvSpPr>
              <p:spPr>
                <a:xfrm flipH="1">
                  <a:off x="4909556" y="4790097"/>
                  <a:ext cx="1804221" cy="2477478"/>
                </a:xfrm>
                <a:custGeom>
                  <a:avLst/>
                  <a:gdLst>
                    <a:gd name="connsiteX0" fmla="*/ 1085461 w 1269177"/>
                    <a:gd name="connsiteY0" fmla="*/ 1303712 h 1303712"/>
                    <a:gd name="connsiteX1" fmla="*/ 393076 w 1269177"/>
                    <a:gd name="connsiteY1" fmla="*/ 1157316 h 1303712"/>
                    <a:gd name="connsiteX2" fmla="*/ 30320 w 1269177"/>
                    <a:gd name="connsiteY2" fmla="*/ 720436 h 1303712"/>
                    <a:gd name="connsiteX3" fmla="*/ 1120210 w 1269177"/>
                    <a:gd name="connsiteY3" fmla="*/ 258618 h 1303712"/>
                    <a:gd name="connsiteX4" fmla="*/ 1231047 w 1269177"/>
                    <a:gd name="connsiteY4" fmla="*/ 0 h 1303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177" h="1303712">
                      <a:moveTo>
                        <a:pt x="1085461" y="1303712"/>
                      </a:moveTo>
                      <a:cubicBezTo>
                        <a:pt x="639787" y="1206730"/>
                        <a:pt x="610143" y="1216429"/>
                        <a:pt x="393076" y="1157316"/>
                      </a:cubicBezTo>
                      <a:cubicBezTo>
                        <a:pt x="176009" y="1098203"/>
                        <a:pt x="-90869" y="870219"/>
                        <a:pt x="30320" y="720436"/>
                      </a:cubicBezTo>
                      <a:cubicBezTo>
                        <a:pt x="151509" y="570653"/>
                        <a:pt x="920089" y="378691"/>
                        <a:pt x="1120210" y="258618"/>
                      </a:cubicBezTo>
                      <a:cubicBezTo>
                        <a:pt x="1320331" y="138545"/>
                        <a:pt x="1275689" y="69272"/>
                        <a:pt x="1231047"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0E21CB0F-83FC-4662-A65D-8C513457AD28}"/>
                    </a:ext>
                  </a:extLst>
                </p:cNvPr>
                <p:cNvSpPr/>
                <p:nvPr/>
              </p:nvSpPr>
              <p:spPr>
                <a:xfrm flipH="1" flipV="1">
                  <a:off x="6074568" y="5778423"/>
                  <a:ext cx="1015327" cy="125367"/>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grpSp>
          <p:sp>
            <p:nvSpPr>
              <p:cNvPr id="27" name="Freeform: Shape 26">
                <a:extLst>
                  <a:ext uri="{FF2B5EF4-FFF2-40B4-BE49-F238E27FC236}">
                    <a16:creationId xmlns:a16="http://schemas.microsoft.com/office/drawing/2014/main" id="{96CF800A-F486-41F0-A465-F7AEC0D21DF6}"/>
                  </a:ext>
                </a:extLst>
              </p:cNvPr>
              <p:cNvSpPr/>
              <p:nvPr/>
            </p:nvSpPr>
            <p:spPr>
              <a:xfrm>
                <a:off x="7942213" y="2179142"/>
                <a:ext cx="576561" cy="147042"/>
              </a:xfrm>
              <a:custGeom>
                <a:avLst/>
                <a:gdLst>
                  <a:gd name="connsiteX0" fmla="*/ 0 w 709613"/>
                  <a:gd name="connsiteY0" fmla="*/ 0 h 180975"/>
                  <a:gd name="connsiteX1" fmla="*/ 709613 w 709613"/>
                  <a:gd name="connsiteY1" fmla="*/ 180975 h 180975"/>
                  <a:gd name="connsiteX2" fmla="*/ 709613 w 709613"/>
                  <a:gd name="connsiteY2" fmla="*/ 28575 h 180975"/>
                  <a:gd name="connsiteX3" fmla="*/ 0 w 709613"/>
                  <a:gd name="connsiteY3" fmla="*/ 0 h 180975"/>
                </a:gdLst>
                <a:ahLst/>
                <a:cxnLst>
                  <a:cxn ang="0">
                    <a:pos x="connsiteX0" y="connsiteY0"/>
                  </a:cxn>
                  <a:cxn ang="0">
                    <a:pos x="connsiteX1" y="connsiteY1"/>
                  </a:cxn>
                  <a:cxn ang="0">
                    <a:pos x="connsiteX2" y="connsiteY2"/>
                  </a:cxn>
                  <a:cxn ang="0">
                    <a:pos x="connsiteX3" y="connsiteY3"/>
                  </a:cxn>
                </a:cxnLst>
                <a:rect l="l" t="t" r="r" b="b"/>
                <a:pathLst>
                  <a:path w="709613" h="180975">
                    <a:moveTo>
                      <a:pt x="0" y="0"/>
                    </a:moveTo>
                    <a:lnTo>
                      <a:pt x="709613" y="180975"/>
                    </a:lnTo>
                    <a:lnTo>
                      <a:pt x="709613" y="28575"/>
                    </a:lnTo>
                    <a:lnTo>
                      <a:pt x="0" y="0"/>
                    </a:lnTo>
                    <a:close/>
                  </a:path>
                </a:pathLst>
              </a:custGeom>
              <a:solidFill>
                <a:srgbClr val="E6E6E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defRPr/>
                </a:pPr>
                <a:endParaRPr kumimoji="0" lang="en-US" sz="1300" b="0" i="0" u="none" strike="noStrike" kern="0" cap="none" spc="0" normalizeH="0" baseline="0" noProof="0" err="1">
                  <a:ln>
                    <a:noFill/>
                  </a:ln>
                  <a:solidFill>
                    <a:srgbClr val="FFFFFF"/>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B6C9E49E-0050-417C-BB38-29273DA69A70}"/>
                  </a:ext>
                </a:extLst>
              </p:cNvPr>
              <p:cNvSpPr/>
              <p:nvPr/>
            </p:nvSpPr>
            <p:spPr>
              <a:xfrm flipH="1">
                <a:off x="8200296" y="1986732"/>
                <a:ext cx="1548064" cy="366581"/>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13C8E00E-A329-428C-9C6A-3770ACC6B371}"/>
                  </a:ext>
                </a:extLst>
              </p:cNvPr>
              <p:cNvSpPr/>
              <p:nvPr/>
            </p:nvSpPr>
            <p:spPr>
              <a:xfrm>
                <a:off x="4935587" y="3028504"/>
                <a:ext cx="458539" cy="147042"/>
              </a:xfrm>
              <a:custGeom>
                <a:avLst/>
                <a:gdLst>
                  <a:gd name="connsiteX0" fmla="*/ 0 w 564356"/>
                  <a:gd name="connsiteY0" fmla="*/ 142875 h 180975"/>
                  <a:gd name="connsiteX1" fmla="*/ 564356 w 564356"/>
                  <a:gd name="connsiteY1" fmla="*/ 180975 h 180975"/>
                  <a:gd name="connsiteX2" fmla="*/ 85725 w 564356"/>
                  <a:gd name="connsiteY2" fmla="*/ 0 h 180975"/>
                  <a:gd name="connsiteX3" fmla="*/ 0 w 564356"/>
                  <a:gd name="connsiteY3" fmla="*/ 142875 h 180975"/>
                </a:gdLst>
                <a:ahLst/>
                <a:cxnLst>
                  <a:cxn ang="0">
                    <a:pos x="connsiteX0" y="connsiteY0"/>
                  </a:cxn>
                  <a:cxn ang="0">
                    <a:pos x="connsiteX1" y="connsiteY1"/>
                  </a:cxn>
                  <a:cxn ang="0">
                    <a:pos x="connsiteX2" y="connsiteY2"/>
                  </a:cxn>
                  <a:cxn ang="0">
                    <a:pos x="connsiteX3" y="connsiteY3"/>
                  </a:cxn>
                </a:cxnLst>
                <a:rect l="l" t="t" r="r" b="b"/>
                <a:pathLst>
                  <a:path w="564356" h="180975">
                    <a:moveTo>
                      <a:pt x="0" y="142875"/>
                    </a:moveTo>
                    <a:lnTo>
                      <a:pt x="564356" y="180975"/>
                    </a:lnTo>
                    <a:lnTo>
                      <a:pt x="85725" y="0"/>
                    </a:lnTo>
                    <a:lnTo>
                      <a:pt x="0" y="142875"/>
                    </a:lnTo>
                    <a:close/>
                  </a:path>
                </a:pathLst>
              </a:custGeom>
              <a:solidFill>
                <a:srgbClr val="E6E6E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defRPr/>
                </a:pPr>
                <a:endParaRPr kumimoji="0" lang="en-US" sz="1300" b="0" i="0" u="none" strike="noStrike" kern="0" cap="none" spc="0" normalizeH="0" baseline="0" noProof="0" err="1">
                  <a:ln>
                    <a:noFill/>
                  </a:ln>
                  <a:solidFill>
                    <a:srgbClr val="FFFFFF"/>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E85E5CFC-86E7-4F76-B0FC-F5ECBD0A4E96}"/>
                  </a:ext>
                </a:extLst>
              </p:cNvPr>
              <p:cNvSpPr/>
              <p:nvPr/>
            </p:nvSpPr>
            <p:spPr>
              <a:xfrm>
                <a:off x="7251502" y="2620268"/>
                <a:ext cx="330845" cy="137368"/>
              </a:xfrm>
              <a:custGeom>
                <a:avLst/>
                <a:gdLst>
                  <a:gd name="connsiteX0" fmla="*/ 0 w 407194"/>
                  <a:gd name="connsiteY0" fmla="*/ 54768 h 169068"/>
                  <a:gd name="connsiteX1" fmla="*/ 407194 w 407194"/>
                  <a:gd name="connsiteY1" fmla="*/ 169068 h 169068"/>
                  <a:gd name="connsiteX2" fmla="*/ 304800 w 407194"/>
                  <a:gd name="connsiteY2" fmla="*/ 0 h 169068"/>
                  <a:gd name="connsiteX3" fmla="*/ 283369 w 407194"/>
                  <a:gd name="connsiteY3" fmla="*/ 0 h 169068"/>
                  <a:gd name="connsiteX4" fmla="*/ 0 w 407194"/>
                  <a:gd name="connsiteY4" fmla="*/ 54768 h 169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194" h="169068">
                    <a:moveTo>
                      <a:pt x="0" y="54768"/>
                    </a:moveTo>
                    <a:lnTo>
                      <a:pt x="407194" y="169068"/>
                    </a:lnTo>
                    <a:lnTo>
                      <a:pt x="304800" y="0"/>
                    </a:lnTo>
                    <a:lnTo>
                      <a:pt x="283369" y="0"/>
                    </a:lnTo>
                    <a:lnTo>
                      <a:pt x="0" y="54768"/>
                    </a:lnTo>
                    <a:close/>
                  </a:path>
                </a:pathLst>
              </a:custGeom>
              <a:solidFill>
                <a:srgbClr val="11294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defRPr/>
                </a:pPr>
                <a:endParaRPr kumimoji="0" lang="en-US" sz="1300" b="0" i="0" u="none" strike="noStrike" kern="0" cap="none" spc="0" normalizeH="0" baseline="0" noProof="0" err="1">
                  <a:ln>
                    <a:noFill/>
                  </a:ln>
                  <a:solidFill>
                    <a:srgbClr val="FFFFFF"/>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338C1F2C-BA97-4ADA-A477-3A10A910AEC3}"/>
                  </a:ext>
                </a:extLst>
              </p:cNvPr>
              <p:cNvSpPr/>
              <p:nvPr/>
            </p:nvSpPr>
            <p:spPr>
              <a:xfrm>
                <a:off x="3836151" y="4133933"/>
                <a:ext cx="352597" cy="487822"/>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B3B3B3"/>
                    </a:solidFill>
                    <a:highlight>
                      <a:srgbClr val="000000">
                        <a:alpha val="0"/>
                      </a:srgbClr>
                    </a:highlight>
                    <a:uLnTx/>
                    <a:uFillTx/>
                    <a:latin typeface="Simsun"/>
                    <a:ea typeface="Simsun"/>
                    <a:cs typeface="+mn-cs"/>
                  </a:rPr>
                  <a:t>2</a:t>
                </a:r>
              </a:p>
            </p:txBody>
          </p:sp>
        </p:grpSp>
        <p:sp>
          <p:nvSpPr>
            <p:cNvPr id="9" name="Freeform: Shape 8">
              <a:extLst>
                <a:ext uri="{FF2B5EF4-FFF2-40B4-BE49-F238E27FC236}">
                  <a16:creationId xmlns:a16="http://schemas.microsoft.com/office/drawing/2014/main" id="{7C7E6FD7-286A-4533-937D-29F96E7B42B8}"/>
                </a:ext>
              </a:extLst>
            </p:cNvPr>
            <p:cNvSpPr/>
            <p:nvPr/>
          </p:nvSpPr>
          <p:spPr>
            <a:xfrm rot="10800000" flipH="1">
              <a:off x="2750071" y="4498770"/>
              <a:ext cx="2009584" cy="994574"/>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E89C7420-F8FD-4618-9125-0113299E2476}"/>
                </a:ext>
              </a:extLst>
            </p:cNvPr>
            <p:cNvSpPr/>
            <p:nvPr/>
          </p:nvSpPr>
          <p:spPr>
            <a:xfrm>
              <a:off x="4040654" y="3331262"/>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B3B3B3"/>
                  </a:solidFill>
                  <a:highlight>
                    <a:srgbClr val="000000">
                      <a:alpha val="0"/>
                    </a:srgbClr>
                  </a:highlight>
                  <a:uLnTx/>
                  <a:uFillTx/>
                  <a:latin typeface="Simsun"/>
                  <a:ea typeface="Simsun"/>
                  <a:cs typeface="+mn-cs"/>
                </a:rPr>
                <a:t>4</a:t>
              </a:r>
            </a:p>
          </p:txBody>
        </p:sp>
        <p:sp>
          <p:nvSpPr>
            <p:cNvPr id="11" name="Freeform: Shape 10">
              <a:extLst>
                <a:ext uri="{FF2B5EF4-FFF2-40B4-BE49-F238E27FC236}">
                  <a16:creationId xmlns:a16="http://schemas.microsoft.com/office/drawing/2014/main" id="{D9671639-EDED-45B4-8215-2BD8B40BC3F1}"/>
                </a:ext>
              </a:extLst>
            </p:cNvPr>
            <p:cNvSpPr/>
            <p:nvPr/>
          </p:nvSpPr>
          <p:spPr>
            <a:xfrm>
              <a:off x="5513693" y="4629918"/>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B3B3B3"/>
                  </a:solidFill>
                  <a:highlight>
                    <a:srgbClr val="000000">
                      <a:alpha val="0"/>
                    </a:srgbClr>
                  </a:highlight>
                  <a:uLnTx/>
                  <a:uFillTx/>
                  <a:latin typeface="Simsun"/>
                  <a:ea typeface="Simsun"/>
                  <a:cs typeface="+mn-cs"/>
                </a:rPr>
                <a:t>1</a:t>
              </a:r>
            </a:p>
          </p:txBody>
        </p:sp>
        <p:sp>
          <p:nvSpPr>
            <p:cNvPr id="12" name="Freeform: Shape 11">
              <a:extLst>
                <a:ext uri="{FF2B5EF4-FFF2-40B4-BE49-F238E27FC236}">
                  <a16:creationId xmlns:a16="http://schemas.microsoft.com/office/drawing/2014/main" id="{DF700A6B-5191-4104-A9E0-C7A5A7693EFF}"/>
                </a:ext>
              </a:extLst>
            </p:cNvPr>
            <p:cNvSpPr/>
            <p:nvPr/>
          </p:nvSpPr>
          <p:spPr>
            <a:xfrm>
              <a:off x="8734683" y="1771871"/>
              <a:ext cx="484043"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E6E6E6"/>
                  </a:solidFill>
                  <a:highlight>
                    <a:srgbClr val="000000">
                      <a:alpha val="0"/>
                    </a:srgbClr>
                  </a:highlight>
                  <a:uLnTx/>
                  <a:uFillTx/>
                  <a:latin typeface="Simsun"/>
                  <a:ea typeface="Simsun"/>
                  <a:cs typeface="+mn-cs"/>
                </a:rPr>
                <a:t>10</a:t>
              </a:r>
            </a:p>
          </p:txBody>
        </p:sp>
        <p:sp>
          <p:nvSpPr>
            <p:cNvPr id="13" name="Freeform: Shape 12">
              <a:extLst>
                <a:ext uri="{FF2B5EF4-FFF2-40B4-BE49-F238E27FC236}">
                  <a16:creationId xmlns:a16="http://schemas.microsoft.com/office/drawing/2014/main" id="{EA26C951-E0B7-420E-8B0C-8C0A0E1550B4}"/>
                </a:ext>
              </a:extLst>
            </p:cNvPr>
            <p:cNvSpPr/>
            <p:nvPr/>
          </p:nvSpPr>
          <p:spPr>
            <a:xfrm>
              <a:off x="6686914" y="2720845"/>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E6E6E6"/>
                  </a:solidFill>
                  <a:highlight>
                    <a:srgbClr val="000000">
                      <a:alpha val="0"/>
                    </a:srgbClr>
                  </a:highlight>
                  <a:uLnTx/>
                  <a:uFillTx/>
                  <a:latin typeface="Simsun"/>
                  <a:ea typeface="Simsun"/>
                  <a:cs typeface="+mn-cs"/>
                </a:rPr>
                <a:t>6</a:t>
              </a:r>
            </a:p>
          </p:txBody>
        </p:sp>
        <p:sp>
          <p:nvSpPr>
            <p:cNvPr id="14" name="Freeform: Shape 13">
              <a:extLst>
                <a:ext uri="{FF2B5EF4-FFF2-40B4-BE49-F238E27FC236}">
                  <a16:creationId xmlns:a16="http://schemas.microsoft.com/office/drawing/2014/main" id="{FCEA8C5E-3C38-4713-BE7C-763149685E4A}"/>
                </a:ext>
              </a:extLst>
            </p:cNvPr>
            <p:cNvSpPr/>
            <p:nvPr/>
          </p:nvSpPr>
          <p:spPr>
            <a:xfrm rot="10800000" flipH="1">
              <a:off x="4837187" y="3251987"/>
              <a:ext cx="2045443" cy="589901"/>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F5901641-E8EE-4CB5-8B6B-2A9BAB3E1413}"/>
                </a:ext>
              </a:extLst>
            </p:cNvPr>
            <p:cNvSpPr/>
            <p:nvPr/>
          </p:nvSpPr>
          <p:spPr>
            <a:xfrm>
              <a:off x="5957719" y="1835858"/>
              <a:ext cx="2219829" cy="834866"/>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4D125012-DA23-465D-BAFF-9EDDFAED3ED0}"/>
                </a:ext>
              </a:extLst>
            </p:cNvPr>
            <p:cNvSpPr/>
            <p:nvPr/>
          </p:nvSpPr>
          <p:spPr>
            <a:xfrm>
              <a:off x="7997247" y="2160762"/>
              <a:ext cx="37273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E6E6E6"/>
                  </a:solidFill>
                  <a:highlight>
                    <a:srgbClr val="000000">
                      <a:alpha val="0"/>
                    </a:srgbClr>
                  </a:highlight>
                  <a:uLnTx/>
                  <a:uFillTx/>
                  <a:latin typeface="Simsun"/>
                  <a:ea typeface="Simsun"/>
                  <a:cs typeface="+mn-cs"/>
                </a:rPr>
                <a:t>9</a:t>
              </a:r>
            </a:p>
          </p:txBody>
        </p:sp>
        <p:sp>
          <p:nvSpPr>
            <p:cNvPr id="17" name="Freeform: Shape 16">
              <a:extLst>
                <a:ext uri="{FF2B5EF4-FFF2-40B4-BE49-F238E27FC236}">
                  <a16:creationId xmlns:a16="http://schemas.microsoft.com/office/drawing/2014/main" id="{924ADD88-7C30-4076-94C0-22856864785F}"/>
                </a:ext>
              </a:extLst>
            </p:cNvPr>
            <p:cNvSpPr/>
            <p:nvPr/>
          </p:nvSpPr>
          <p:spPr>
            <a:xfrm>
              <a:off x="8716040" y="2614251"/>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E6E6E6"/>
                  </a:solidFill>
                  <a:highlight>
                    <a:srgbClr val="000000">
                      <a:alpha val="0"/>
                    </a:srgbClr>
                  </a:highlight>
                  <a:uLnTx/>
                  <a:uFillTx/>
                  <a:latin typeface="Simsun"/>
                  <a:ea typeface="Simsun"/>
                  <a:cs typeface="+mn-cs"/>
                </a:rPr>
                <a:t>8</a:t>
              </a:r>
            </a:p>
          </p:txBody>
        </p:sp>
      </p:grpSp>
      <p:sp>
        <p:nvSpPr>
          <p:cNvPr id="35" name="TextBox 34">
            <a:extLst>
              <a:ext uri="{FF2B5EF4-FFF2-40B4-BE49-F238E27FC236}">
                <a16:creationId xmlns:a16="http://schemas.microsoft.com/office/drawing/2014/main" id="{41CD728C-99C2-414A-ABCD-5E19F51F61FC}"/>
              </a:ext>
            </a:extLst>
          </p:cNvPr>
          <p:cNvSpPr txBox="1"/>
          <p:nvPr/>
        </p:nvSpPr>
        <p:spPr>
          <a:xfrm>
            <a:off x="6684766" y="4876333"/>
            <a:ext cx="2605152" cy="73866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1" i="0" u="none" strike="noStrike" kern="0" cap="none" spc="0" normalizeH="0" baseline="0" noProof="0">
                <a:solidFill>
                  <a:srgbClr val="132330"/>
                </a:solidFill>
                <a:highlight>
                  <a:srgbClr val="000000">
                    <a:alpha val="0"/>
                  </a:srgbClr>
                </a:highlight>
                <a:uLnTx/>
                <a:uFillTx/>
                <a:latin typeface="Simsun"/>
                <a:ea typeface="Simsun"/>
                <a:cs typeface="Arial"/>
                <a:sym typeface="Arial"/>
              </a:rPr>
              <a:t>第二届世卫大会特别会议（WHASS2）</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0" cap="none" spc="0" normalizeH="0" baseline="0" noProof="0">
                <a:solidFill>
                  <a:srgbClr val="0B1C2F"/>
                </a:solidFill>
                <a:highlight>
                  <a:srgbClr val="000000">
                    <a:alpha val="0"/>
                  </a:srgbClr>
                </a:highlight>
                <a:uLnTx/>
                <a:uFillTx/>
                <a:latin typeface="Simsun"/>
                <a:ea typeface="Simsun"/>
                <a:cs typeface="Arial"/>
                <a:sym typeface="Arial"/>
              </a:rPr>
              <a:t>2021年11月30日至12月1日</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endParaRPr kumimoji="0" lang="en-US" sz="1200" b="0" i="1" u="none" strike="noStrike" kern="0" cap="none" spc="0" normalizeH="0" baseline="0" noProof="0">
              <a:ln>
                <a:noFill/>
              </a:ln>
              <a:solidFill>
                <a:srgbClr val="FFFFFF"/>
              </a:solidFill>
              <a:effectLst/>
              <a:uLnTx/>
              <a:uFillTx/>
              <a:latin typeface="Arial"/>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351B30F5-FAE0-446D-9826-6F343EE83BC2}"/>
              </a:ext>
            </a:extLst>
          </p:cNvPr>
          <p:cNvSpPr txBox="1"/>
          <p:nvPr/>
        </p:nvSpPr>
        <p:spPr>
          <a:xfrm>
            <a:off x="2910344" y="4632174"/>
            <a:ext cx="2180994" cy="58685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INB的第一次会议（INB1）</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0" cap="none" spc="0" normalizeH="0" baseline="0" noProof="0">
                <a:solidFill>
                  <a:srgbClr val="112946"/>
                </a:solidFill>
                <a:highlight>
                  <a:srgbClr val="000000">
                    <a:alpha val="0"/>
                  </a:srgbClr>
                </a:highlight>
                <a:uLnTx/>
                <a:uFillTx/>
                <a:latin typeface="Simsun"/>
                <a:ea typeface="Simsun"/>
                <a:cs typeface="Arial"/>
                <a:sym typeface="Arial"/>
              </a:rPr>
              <a:t>2022年11月24日，星期四</a:t>
            </a:r>
          </a:p>
        </p:txBody>
      </p:sp>
      <p:sp>
        <p:nvSpPr>
          <p:cNvPr id="37" name="TextBox 36">
            <a:extLst>
              <a:ext uri="{FF2B5EF4-FFF2-40B4-BE49-F238E27FC236}">
                <a16:creationId xmlns:a16="http://schemas.microsoft.com/office/drawing/2014/main" id="{3956911F-3C72-41F7-A826-1BE6B9BBD007}"/>
              </a:ext>
            </a:extLst>
          </p:cNvPr>
          <p:cNvSpPr txBox="1"/>
          <p:nvPr/>
        </p:nvSpPr>
        <p:spPr>
          <a:xfrm>
            <a:off x="2161403" y="3561046"/>
            <a:ext cx="1627190" cy="40011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4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WHA75</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0" cap="none" spc="0" normalizeH="0" baseline="0" noProof="0">
                <a:solidFill>
                  <a:srgbClr val="112946"/>
                </a:solidFill>
                <a:highlight>
                  <a:srgbClr val="000000">
                    <a:alpha val="0"/>
                  </a:srgbClr>
                </a:highlight>
                <a:uLnTx/>
                <a:uFillTx/>
                <a:latin typeface="Simsun"/>
                <a:ea typeface="Simsun"/>
                <a:cs typeface="Arial"/>
                <a:sym typeface="Arial"/>
              </a:rPr>
              <a:t>2022年5月22日至28日</a:t>
            </a:r>
          </a:p>
        </p:txBody>
      </p:sp>
      <p:sp>
        <p:nvSpPr>
          <p:cNvPr id="38" name="TextBox 37">
            <a:extLst>
              <a:ext uri="{FF2B5EF4-FFF2-40B4-BE49-F238E27FC236}">
                <a16:creationId xmlns:a16="http://schemas.microsoft.com/office/drawing/2014/main" id="{ACC37B35-56DA-45B0-BB35-81EA9CB7D510}"/>
              </a:ext>
            </a:extLst>
          </p:cNvPr>
          <p:cNvSpPr txBox="1"/>
          <p:nvPr/>
        </p:nvSpPr>
        <p:spPr>
          <a:xfrm>
            <a:off x="1965692" y="2164708"/>
            <a:ext cx="1986592" cy="55399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1" i="0" u="none" strike="noStrike" kern="0" cap="none" spc="0" normalizeH="0" baseline="0" noProof="0">
                <a:solidFill>
                  <a:srgbClr val="FFFFFF"/>
                </a:solidFill>
                <a:highlight>
                  <a:srgbClr val="000000">
                    <a:alpha val="0"/>
                  </a:srgbClr>
                </a:highlight>
                <a:uLnTx/>
                <a:uFillTx/>
                <a:latin typeface="Simsun"/>
                <a:ea typeface="Simsun"/>
                <a:cs typeface="Arial"/>
                <a:sym typeface="Arial"/>
              </a:rPr>
              <a:t>第二次INB会议</a:t>
            </a:r>
            <a:br>
              <a:rPr kumimoji="0" lang="zh-Hans" sz="1200" b="1" i="0" u="none" strike="noStrike" kern="0" cap="none" spc="0" normalizeH="0" baseline="0" noProof="0">
                <a:solidFill>
                  <a:srgbClr val="FFFFFF"/>
                </a:solidFill>
                <a:highlight>
                  <a:srgbClr val="000000">
                    <a:alpha val="0"/>
                  </a:srgbClr>
                </a:highlight>
                <a:uLnTx/>
                <a:uFillTx/>
                <a:latin typeface="Simsun"/>
                <a:ea typeface="Simsun"/>
                <a:cs typeface="Arial"/>
                <a:sym typeface="Arial"/>
              </a:rPr>
            </a:br>
            <a:r>
              <a:rPr kumimoji="0" lang="zh-Hans" sz="1200" b="1" i="0" u="none" strike="noStrike" kern="0" cap="none" spc="0" normalizeH="0" baseline="0" noProof="0">
                <a:solidFill>
                  <a:srgbClr val="FFFFFF"/>
                </a:solidFill>
                <a:highlight>
                  <a:srgbClr val="000000">
                    <a:alpha val="0"/>
                  </a:srgbClr>
                </a:highlight>
                <a:uLnTx/>
                <a:uFillTx/>
                <a:latin typeface="Simsun"/>
                <a:ea typeface="Simsun"/>
                <a:cs typeface="Arial"/>
                <a:sym typeface="Arial"/>
              </a:rPr>
              <a:t> (INB2)</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0" cap="none" spc="0" normalizeH="0" baseline="0" noProof="0">
                <a:solidFill>
                  <a:srgbClr val="FFFFFF"/>
                </a:solidFill>
                <a:highlight>
                  <a:srgbClr val="000000">
                    <a:alpha val="0"/>
                  </a:srgbClr>
                </a:highlight>
                <a:uLnTx/>
                <a:uFillTx/>
                <a:latin typeface="Simsun"/>
                <a:ea typeface="Simsun"/>
                <a:cs typeface="Arial"/>
                <a:sym typeface="Arial"/>
              </a:rPr>
              <a:t>2022年7月18日至22日</a:t>
            </a:r>
            <a:endParaRPr kumimoji="0" lang="en-US" sz="1200" b="1" i="1" u="none" strike="noStrike" kern="0" cap="none" spc="0" normalizeH="0" baseline="0" noProof="0">
              <a:ln>
                <a:noFill/>
              </a:ln>
              <a:solidFill>
                <a:srgbClr val="FFFFFF"/>
              </a:solidFill>
              <a:effectLst/>
              <a:uLnTx/>
              <a:uFillTx/>
              <a:latin typeface="Arial"/>
              <a:ea typeface="+mn-ea"/>
              <a:cs typeface="Arial" panose="020B0604020202020204" pitchFamily="34" charset="0"/>
              <a:sym typeface="Arial"/>
            </a:endParaRPr>
          </a:p>
        </p:txBody>
      </p:sp>
      <p:sp>
        <p:nvSpPr>
          <p:cNvPr id="39" name="TextBox 38">
            <a:extLst>
              <a:ext uri="{FF2B5EF4-FFF2-40B4-BE49-F238E27FC236}">
                <a16:creationId xmlns:a16="http://schemas.microsoft.com/office/drawing/2014/main" id="{EF9296CF-A5B3-40DE-9A4F-9BA696DE014B}"/>
              </a:ext>
            </a:extLst>
          </p:cNvPr>
          <p:cNvSpPr txBox="1"/>
          <p:nvPr/>
        </p:nvSpPr>
        <p:spPr>
          <a:xfrm>
            <a:off x="4566245" y="3055782"/>
            <a:ext cx="2439269" cy="461665"/>
          </a:xfrm>
          <a:prstGeom prst="rect">
            <a:avLst/>
          </a:prstGeom>
          <a:noFill/>
        </p:spPr>
        <p:txBody>
          <a:bodyPr wrap="square">
            <a:noAutofit/>
          </a:bodyPr>
          <a:lstStyle/>
          <a:p>
            <a:pPr marL="0" marR="0" lvl="0" indent="0" algn="l" defTabSz="914358"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112946"/>
              </a:solidFill>
              <a:effectLst/>
              <a:uLnTx/>
              <a:uFillTx/>
              <a:latin typeface="Arial"/>
              <a:ea typeface="+mn-ea"/>
              <a:cs typeface="Arial" panose="020B0604020202020204" pitchFamily="34" charset="0"/>
              <a:sym typeface="Theinhardt Pan Medium" panose="020B0604020101020102" pitchFamily="34" charset="0"/>
            </a:endParaRPr>
          </a:p>
          <a:p>
            <a:pPr marL="0" marR="0" lvl="0" indent="0" algn="l" defTabSz="914358" rtl="0" eaLnBrk="1" fontAlgn="auto" latinLnBrk="0" hangingPunct="1">
              <a:lnSpc>
                <a:spcPct val="100000"/>
              </a:lnSpc>
              <a:spcBef>
                <a:spcPct val="0"/>
              </a:spcBef>
              <a:spcAft>
                <a:spcPct val="0"/>
              </a:spcAft>
              <a:buClrTx/>
              <a:buSzTx/>
              <a:buFontTx/>
              <a:buNone/>
              <a:defRPr/>
            </a:pPr>
            <a:endParaRPr kumimoji="0" lang="en-US" sz="1200" b="0" i="0" u="none" strike="noStrike" kern="1200" cap="none" spc="0" normalizeH="0" baseline="0" noProof="0">
              <a:ln>
                <a:noFill/>
              </a:ln>
              <a:solidFill>
                <a:srgbClr val="112946"/>
              </a:solidFill>
              <a:effectLst/>
              <a:uLnTx/>
              <a:uFillTx/>
              <a:latin typeface="Arial"/>
              <a:ea typeface="+mn-ea"/>
              <a:cs typeface="Arial" panose="020B0604020202020204" pitchFamily="34" charset="0"/>
              <a:sym typeface="Theinhardt Pan Medium" panose="020B0604020101020102" pitchFamily="34" charset="0"/>
            </a:endParaRPr>
          </a:p>
        </p:txBody>
      </p:sp>
      <p:sp>
        <p:nvSpPr>
          <p:cNvPr id="40" name="TextBox 39">
            <a:extLst>
              <a:ext uri="{FF2B5EF4-FFF2-40B4-BE49-F238E27FC236}">
                <a16:creationId xmlns:a16="http://schemas.microsoft.com/office/drawing/2014/main" id="{F36E8AB5-A343-4063-9B81-15AF40FE2AF3}"/>
              </a:ext>
            </a:extLst>
          </p:cNvPr>
          <p:cNvSpPr txBox="1"/>
          <p:nvPr/>
        </p:nvSpPr>
        <p:spPr>
          <a:xfrm>
            <a:off x="4892554" y="2935432"/>
            <a:ext cx="2187214" cy="646331"/>
          </a:xfrm>
          <a:prstGeom prst="rect">
            <a:avLst/>
          </a:prstGeom>
          <a:noFill/>
        </p:spPr>
        <p:txBody>
          <a:bodyPr wrap="square">
            <a:noAutofit/>
          </a:bodyPr>
          <a:lstStyle/>
          <a:p>
            <a:pPr marL="0" marR="0" lvl="0" indent="0" algn="l" defTabSz="914358" rtl="0" eaLnBrk="1" fontAlgn="auto" latinLnBrk="0" hangingPunct="1">
              <a:lnSpc>
                <a:spcPct val="100000"/>
              </a:lnSpc>
              <a:spcBef>
                <a:spcPct val="0"/>
              </a:spcBef>
              <a:spcAft>
                <a:spcPct val="0"/>
              </a:spcAft>
              <a:buClrTx/>
              <a:buSzTx/>
              <a:buFontTx/>
              <a:buNone/>
              <a:defRPr/>
            </a:pPr>
            <a:r>
              <a:rPr kumimoji="0" lang="zh-Hans" sz="1200" b="1" i="0" u="none" strike="noStrike" kern="1200" cap="none" spc="0" normalizeH="0" baseline="0" noProof="0">
                <a:solidFill>
                  <a:srgbClr val="112946"/>
                </a:solidFill>
                <a:highlight>
                  <a:srgbClr val="000000">
                    <a:alpha val="0"/>
                  </a:srgbClr>
                </a:highlight>
                <a:uLnTx/>
                <a:uFillTx/>
                <a:latin typeface="Simsun"/>
                <a:ea typeface="Simsun"/>
                <a:cs typeface="Arial"/>
                <a:sym typeface="Theinhardt Pan Medium"/>
              </a:rPr>
              <a:t>WGIHR第一次会议（WGIHR1）</a:t>
            </a:r>
            <a:br>
              <a:rPr kumimoji="0" lang="zh-Hans" sz="1200" b="1" i="0" u="none" strike="noStrike" kern="1200" cap="none" spc="0" normalizeH="0" baseline="0" noProof="0">
                <a:solidFill>
                  <a:srgbClr val="112946"/>
                </a:solidFill>
                <a:highlight>
                  <a:srgbClr val="000000">
                    <a:alpha val="0"/>
                  </a:srgbClr>
                </a:highlight>
                <a:uLnTx/>
                <a:uFillTx/>
                <a:latin typeface="Simsun"/>
                <a:ea typeface="Simsun"/>
                <a:cs typeface="Arial"/>
                <a:sym typeface="Theinhardt Pan Medium"/>
              </a:rPr>
            </a:br>
            <a:r>
              <a:rPr kumimoji="0" lang="zh-Hans" sz="1200" b="0" i="1" u="none" strike="noStrike" kern="1200" cap="none" spc="0" normalizeH="0" baseline="0" noProof="0">
                <a:solidFill>
                  <a:srgbClr val="112946"/>
                </a:solidFill>
                <a:highlight>
                  <a:srgbClr val="000000">
                    <a:alpha val="0"/>
                  </a:srgbClr>
                </a:highlight>
                <a:uLnTx/>
                <a:uFillTx/>
                <a:latin typeface="Simsun"/>
                <a:ea typeface="Simsun"/>
                <a:cs typeface="Arial"/>
                <a:sym typeface="Theinhardt Pan Medium"/>
              </a:rPr>
              <a:t>2022年11月14-15日</a:t>
            </a:r>
          </a:p>
        </p:txBody>
      </p:sp>
      <p:sp>
        <p:nvSpPr>
          <p:cNvPr id="41" name="TextBox 40">
            <a:extLst>
              <a:ext uri="{FF2B5EF4-FFF2-40B4-BE49-F238E27FC236}">
                <a16:creationId xmlns:a16="http://schemas.microsoft.com/office/drawing/2014/main" id="{B47B9DDA-A2A1-4825-B9D4-33F7AAAA2240}"/>
              </a:ext>
            </a:extLst>
          </p:cNvPr>
          <p:cNvSpPr txBox="1"/>
          <p:nvPr/>
        </p:nvSpPr>
        <p:spPr>
          <a:xfrm>
            <a:off x="9187436" y="3038003"/>
            <a:ext cx="1242732" cy="76944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400" b="1" i="0" u="none" strike="noStrike" kern="1200" cap="none" spc="0" normalizeH="0" baseline="0" noProof="0">
                <a:solidFill>
                  <a:srgbClr val="112946"/>
                </a:solidFill>
                <a:highlight>
                  <a:srgbClr val="000000">
                    <a:alpha val="0"/>
                  </a:srgbClr>
                </a:highlight>
                <a:uLnTx/>
                <a:uFillTx/>
                <a:latin typeface="Simsun"/>
                <a:ea typeface="Simsun"/>
                <a:cs typeface="Arial"/>
                <a:sym typeface="Arial"/>
              </a:rPr>
              <a:t>WHA76</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0" u="none" strike="noStrike" kern="1200" cap="none" spc="0" normalizeH="0" baseline="0" noProof="0">
                <a:solidFill>
                  <a:srgbClr val="112946"/>
                </a:solidFill>
                <a:highlight>
                  <a:srgbClr val="000000">
                    <a:alpha val="0"/>
                  </a:srgbClr>
                </a:highlight>
                <a:uLnTx/>
                <a:uFillTx/>
                <a:latin typeface="Simsun"/>
                <a:ea typeface="Simsun"/>
                <a:cs typeface="Arial"/>
                <a:sym typeface="Arial"/>
              </a:rPr>
              <a:t>INB将提交一份进展报告</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1200" cap="none" spc="0" normalizeH="0" baseline="0" noProof="0">
                <a:solidFill>
                  <a:srgbClr val="132330"/>
                </a:solidFill>
                <a:highlight>
                  <a:srgbClr val="000000">
                    <a:alpha val="0"/>
                  </a:srgbClr>
                </a:highlight>
                <a:uLnTx/>
                <a:uFillTx/>
                <a:latin typeface="Simsun"/>
                <a:ea typeface="Simsun"/>
                <a:cs typeface="Arial"/>
                <a:sym typeface="Arial"/>
              </a:rPr>
              <a:t>2023年5月</a:t>
            </a:r>
          </a:p>
        </p:txBody>
      </p:sp>
      <p:sp>
        <p:nvSpPr>
          <p:cNvPr id="42" name="TextBox 41">
            <a:extLst>
              <a:ext uri="{FF2B5EF4-FFF2-40B4-BE49-F238E27FC236}">
                <a16:creationId xmlns:a16="http://schemas.microsoft.com/office/drawing/2014/main" id="{492D4CC9-B2C2-4592-9745-B992EDD6E6D8}"/>
              </a:ext>
            </a:extLst>
          </p:cNvPr>
          <p:cNvSpPr txBox="1"/>
          <p:nvPr/>
        </p:nvSpPr>
        <p:spPr>
          <a:xfrm>
            <a:off x="8351520" y="904739"/>
            <a:ext cx="2305336" cy="769441"/>
          </a:xfrm>
          <a:prstGeom prst="rect">
            <a:avLst/>
          </a:prstGeom>
          <a:noFill/>
          <a:ln w="9525" cap="flat" cmpd="sng" algn="ctr">
            <a:noFill/>
            <a:prstDash val="solid"/>
            <a:round/>
            <a:headEnd type="none" w="med" len="med"/>
            <a:tailEnd type="none" w="med" len="med"/>
          </a:ln>
          <a:effectLst/>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r"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4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 WHA77</a:t>
            </a:r>
            <a:br>
              <a:rPr kumimoji="0" lang="zh-Hans" sz="12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br>
            <a:r>
              <a:rPr kumimoji="0" lang="zh-Hans" sz="12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  </a:t>
            </a:r>
            <a:r>
              <a:rPr kumimoji="0" lang="zh-Hans" sz="1200" b="0" i="0" u="none" strike="noStrike" kern="0" cap="none" spc="0" normalizeH="0" baseline="0" noProof="0">
                <a:solidFill>
                  <a:srgbClr val="112946"/>
                </a:solidFill>
                <a:highlight>
                  <a:srgbClr val="000000">
                    <a:alpha val="0"/>
                  </a:srgbClr>
                </a:highlight>
                <a:uLnTx/>
                <a:uFillTx/>
                <a:latin typeface="Simsun"/>
                <a:ea typeface="Simsun"/>
                <a:cs typeface="Arial"/>
                <a:sym typeface="Arial"/>
              </a:rPr>
              <a:t>INB和WGIHR将提交其结果</a:t>
            </a:r>
          </a:p>
          <a:p>
            <a:pPr marL="0" marR="0" lvl="0" indent="0" algn="r"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0" cap="none" spc="0" normalizeH="0" baseline="0" noProof="0">
                <a:solidFill>
                  <a:srgbClr val="112946"/>
                </a:solidFill>
                <a:highlight>
                  <a:srgbClr val="000000">
                    <a:alpha val="0"/>
                  </a:srgbClr>
                </a:highlight>
                <a:uLnTx/>
                <a:uFillTx/>
                <a:latin typeface="Simsun"/>
                <a:ea typeface="Simsun"/>
                <a:cs typeface="Arial"/>
                <a:sym typeface="Arial"/>
              </a:rPr>
              <a:t>2024</a:t>
            </a:r>
          </a:p>
        </p:txBody>
      </p:sp>
      <p:sp>
        <p:nvSpPr>
          <p:cNvPr id="43" name="Freeform: Shape 42">
            <a:extLst>
              <a:ext uri="{FF2B5EF4-FFF2-40B4-BE49-F238E27FC236}">
                <a16:creationId xmlns:a16="http://schemas.microsoft.com/office/drawing/2014/main" id="{111C3E06-D6B6-4001-87F1-2E6FD8E915BE}"/>
              </a:ext>
            </a:extLst>
          </p:cNvPr>
          <p:cNvSpPr/>
          <p:nvPr/>
        </p:nvSpPr>
        <p:spPr>
          <a:xfrm rot="10800000">
            <a:off x="9104537" y="2818061"/>
            <a:ext cx="1366543" cy="1014574"/>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286008BB-DA11-4BFF-B36B-A3DC15D370F5}"/>
              </a:ext>
            </a:extLst>
          </p:cNvPr>
          <p:cNvSpPr txBox="1"/>
          <p:nvPr/>
        </p:nvSpPr>
        <p:spPr>
          <a:xfrm>
            <a:off x="4084806" y="1638063"/>
            <a:ext cx="1700285" cy="55399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第72届欧洲区域委员会</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0" cap="none" spc="0" normalizeH="0" baseline="0" noProof="0">
                <a:solidFill>
                  <a:srgbClr val="112946"/>
                </a:solidFill>
                <a:highlight>
                  <a:srgbClr val="000000">
                    <a:alpha val="0"/>
                  </a:srgbClr>
                </a:highlight>
                <a:uLnTx/>
                <a:uFillTx/>
                <a:latin typeface="Simsun"/>
                <a:ea typeface="Simsun"/>
                <a:cs typeface="Arial"/>
                <a:sym typeface="Arial"/>
              </a:rPr>
              <a:t>2022年9月12日至14日</a:t>
            </a:r>
            <a:endParaRPr kumimoji="0" lang="en-US" sz="1200" b="1" i="1" u="none" strike="noStrike" kern="0" cap="none" spc="0" normalizeH="0" baseline="0" noProof="0">
              <a:ln>
                <a:noFill/>
              </a:ln>
              <a:solidFill>
                <a:srgbClr val="112946"/>
              </a:solidFill>
              <a:effectLst/>
              <a:uLnTx/>
              <a:uFillTx/>
              <a:latin typeface="Arial"/>
              <a:ea typeface="+mn-ea"/>
              <a:cs typeface="Arial" panose="020B0604020202020204" pitchFamily="34" charset="0"/>
              <a:sym typeface="Arial"/>
            </a:endParaRPr>
          </a:p>
        </p:txBody>
      </p:sp>
      <p:sp>
        <p:nvSpPr>
          <p:cNvPr id="45" name="TextBox 44">
            <a:extLst>
              <a:ext uri="{FF2B5EF4-FFF2-40B4-BE49-F238E27FC236}">
                <a16:creationId xmlns:a16="http://schemas.microsoft.com/office/drawing/2014/main" id="{7424A964-6B25-41A0-9FE4-C189255FCB6D}"/>
              </a:ext>
            </a:extLst>
          </p:cNvPr>
          <p:cNvSpPr txBox="1"/>
          <p:nvPr/>
        </p:nvSpPr>
        <p:spPr>
          <a:xfrm>
            <a:off x="6088585" y="996343"/>
            <a:ext cx="1851968" cy="55399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第72届欧洲区域</a:t>
            </a:r>
            <a:br>
              <a:rPr kumimoji="0" lang="zh-Hans" sz="12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br>
            <a:r>
              <a:rPr kumimoji="0" lang="zh-Hans" sz="1200" b="1" i="0" u="none" strike="noStrike" kern="0" cap="none" spc="0" normalizeH="0" baseline="0" noProof="0">
                <a:solidFill>
                  <a:srgbClr val="112946"/>
                </a:solidFill>
                <a:highlight>
                  <a:srgbClr val="000000">
                    <a:alpha val="0"/>
                  </a:srgbClr>
                </a:highlight>
                <a:uLnTx/>
                <a:uFillTx/>
                <a:latin typeface="Simsun"/>
                <a:ea typeface="Simsun"/>
                <a:cs typeface="Arial"/>
                <a:sym typeface="Arial"/>
              </a:rPr>
              <a:t>委员会</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0" cap="none" spc="0" normalizeH="0" baseline="0" noProof="0">
                <a:solidFill>
                  <a:srgbClr val="112946"/>
                </a:solidFill>
                <a:highlight>
                  <a:srgbClr val="000000">
                    <a:alpha val="0"/>
                  </a:srgbClr>
                </a:highlight>
                <a:uLnTx/>
                <a:uFillTx/>
                <a:latin typeface="Simsun"/>
                <a:ea typeface="Simsun"/>
                <a:cs typeface="Arial"/>
                <a:sym typeface="Arial"/>
              </a:rPr>
              <a:t>2023年10月</a:t>
            </a:r>
            <a:endParaRPr kumimoji="0" lang="en-US" sz="1200" b="1" i="1" u="none" strike="noStrike" kern="0" cap="none" spc="0" normalizeH="0" baseline="0" noProof="0">
              <a:ln>
                <a:noFill/>
              </a:ln>
              <a:solidFill>
                <a:srgbClr val="112946"/>
              </a:solidFill>
              <a:effectLst/>
              <a:uLnTx/>
              <a:uFillTx/>
              <a:latin typeface="Arial"/>
              <a:ea typeface="+mn-ea"/>
              <a:cs typeface="Arial" panose="020B0604020202020204" pitchFamily="34" charset="0"/>
              <a:sym typeface="Arial"/>
            </a:endParaRPr>
          </a:p>
        </p:txBody>
      </p:sp>
      <p:sp>
        <p:nvSpPr>
          <p:cNvPr id="46" name="Freeform: Shape 45">
            <a:extLst>
              <a:ext uri="{FF2B5EF4-FFF2-40B4-BE49-F238E27FC236}">
                <a16:creationId xmlns:a16="http://schemas.microsoft.com/office/drawing/2014/main" id="{290FA5C1-A278-4CD4-80E0-9B9DB0CFF12A}"/>
              </a:ext>
            </a:extLst>
          </p:cNvPr>
          <p:cNvSpPr/>
          <p:nvPr/>
        </p:nvSpPr>
        <p:spPr>
          <a:xfrm>
            <a:off x="6166310" y="2371417"/>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E6E6E6"/>
                </a:solidFill>
                <a:highlight>
                  <a:srgbClr val="000000">
                    <a:alpha val="0"/>
                  </a:srgbClr>
                </a:highlight>
                <a:uLnTx/>
                <a:uFillTx/>
                <a:latin typeface="Simsun"/>
                <a:ea typeface="Simsun"/>
                <a:cs typeface="+mn-cs"/>
              </a:rPr>
              <a:t>5</a:t>
            </a:r>
          </a:p>
        </p:txBody>
      </p:sp>
      <p:sp>
        <p:nvSpPr>
          <p:cNvPr id="47" name="Freeform: Shape 46">
            <a:extLst>
              <a:ext uri="{FF2B5EF4-FFF2-40B4-BE49-F238E27FC236}">
                <a16:creationId xmlns:a16="http://schemas.microsoft.com/office/drawing/2014/main" id="{EA2A724E-17FE-4A32-8B41-741848C0B587}"/>
              </a:ext>
            </a:extLst>
          </p:cNvPr>
          <p:cNvSpPr/>
          <p:nvPr/>
        </p:nvSpPr>
        <p:spPr>
          <a:xfrm>
            <a:off x="3601887" y="3426332"/>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B3B3B3"/>
                </a:solidFill>
                <a:highlight>
                  <a:srgbClr val="000000">
                    <a:alpha val="0"/>
                  </a:srgbClr>
                </a:highlight>
                <a:uLnTx/>
                <a:uFillTx/>
                <a:latin typeface="Simsun"/>
                <a:ea typeface="Simsun"/>
                <a:cs typeface="+mn-cs"/>
              </a:rPr>
              <a:t>3</a:t>
            </a:r>
          </a:p>
        </p:txBody>
      </p:sp>
      <p:sp>
        <p:nvSpPr>
          <p:cNvPr id="48" name="Freeform: Shape 47">
            <a:extLst>
              <a:ext uri="{FF2B5EF4-FFF2-40B4-BE49-F238E27FC236}">
                <a16:creationId xmlns:a16="http://schemas.microsoft.com/office/drawing/2014/main" id="{590B32B5-BB6D-4983-BEEF-938A5CC332E9}"/>
              </a:ext>
            </a:extLst>
          </p:cNvPr>
          <p:cNvSpPr/>
          <p:nvPr/>
        </p:nvSpPr>
        <p:spPr>
          <a:xfrm flipV="1">
            <a:off x="2126218" y="3892908"/>
            <a:ext cx="1645512" cy="118952"/>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443FCE3F-ABC9-4B14-ABD3-3C370E2A0EDE}"/>
              </a:ext>
            </a:extLst>
          </p:cNvPr>
          <p:cNvSpPr/>
          <p:nvPr/>
        </p:nvSpPr>
        <p:spPr>
          <a:xfrm>
            <a:off x="7300383" y="2446687"/>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kumimoji="0" lang="zh-Hans" sz="1800" b="1" i="0" u="none" strike="noStrike" kern="0" cap="none" spc="0" normalizeH="0" baseline="0" noProof="0">
                <a:solidFill>
                  <a:srgbClr val="E6E6E6"/>
                </a:solidFill>
                <a:highlight>
                  <a:srgbClr val="000000">
                    <a:alpha val="0"/>
                  </a:srgbClr>
                </a:highlight>
                <a:uLnTx/>
                <a:uFillTx/>
                <a:latin typeface="Simsun"/>
                <a:ea typeface="Simsun"/>
                <a:cs typeface="+mn-cs"/>
              </a:rPr>
              <a:t>7</a:t>
            </a:r>
          </a:p>
        </p:txBody>
      </p:sp>
      <p:sp>
        <p:nvSpPr>
          <p:cNvPr id="52" name="TextBox 51">
            <a:extLst>
              <a:ext uri="{FF2B5EF4-FFF2-40B4-BE49-F238E27FC236}">
                <a16:creationId xmlns:a16="http://schemas.microsoft.com/office/drawing/2014/main" id="{2CC98DC5-0D7C-43AE-976A-4F94E1E34C25}"/>
              </a:ext>
            </a:extLst>
          </p:cNvPr>
          <p:cNvSpPr txBox="1"/>
          <p:nvPr/>
        </p:nvSpPr>
        <p:spPr>
          <a:xfrm>
            <a:off x="7517596" y="3057365"/>
            <a:ext cx="1986592" cy="55399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ct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ct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ct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5pPr>
            <a:lvl6pPr marL="1085850" lvl="5"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6pPr>
            <a:lvl7pPr marL="1085850" lvl="6"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7pPr>
            <a:lvl8pPr marL="1085850" lvl="7"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8pPr>
            <a:lvl9pPr marL="1085850" lvl="8" indent="-171450">
              <a:lnSpc>
                <a:spcPct val="100000"/>
              </a:lnSpc>
              <a:spcBef>
                <a:spcPct val="0"/>
              </a:spcBef>
              <a:spcAft>
                <a:spcPts val="300"/>
              </a:spcAft>
              <a:buSzTx/>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1" i="0" u="none" strike="noStrike" kern="1200" cap="none" spc="0" normalizeH="0" baseline="0" noProof="0">
                <a:solidFill>
                  <a:srgbClr val="112946"/>
                </a:solidFill>
                <a:highlight>
                  <a:srgbClr val="000000">
                    <a:alpha val="0"/>
                  </a:srgbClr>
                </a:highlight>
                <a:uLnTx/>
                <a:uFillTx/>
                <a:latin typeface="Simsun"/>
                <a:ea typeface="Simsun"/>
                <a:cs typeface="Arial"/>
                <a:sym typeface="Arial"/>
              </a:rPr>
              <a:t>INB第三次</a:t>
            </a:r>
            <a:br>
              <a:rPr kumimoji="0" lang="zh-Hans" sz="1200" b="1" i="0" u="none" strike="noStrike" kern="1200" cap="none" spc="0" normalizeH="0" baseline="0" noProof="0">
                <a:solidFill>
                  <a:srgbClr val="112946"/>
                </a:solidFill>
                <a:highlight>
                  <a:srgbClr val="000000">
                    <a:alpha val="0"/>
                  </a:srgbClr>
                </a:highlight>
                <a:uLnTx/>
                <a:uFillTx/>
                <a:latin typeface="Simsun"/>
                <a:ea typeface="Simsun"/>
                <a:cs typeface="Arial"/>
                <a:sym typeface="Arial"/>
              </a:rPr>
            </a:br>
            <a:r>
              <a:rPr kumimoji="0" lang="zh-Hans" sz="1200" b="1" i="0" u="none" strike="noStrike" kern="1200" cap="none" spc="0" normalizeH="0" baseline="0" noProof="0">
                <a:solidFill>
                  <a:srgbClr val="112946"/>
                </a:solidFill>
                <a:highlight>
                  <a:srgbClr val="000000">
                    <a:alpha val="0"/>
                  </a:srgbClr>
                </a:highlight>
                <a:uLnTx/>
                <a:uFillTx/>
                <a:latin typeface="Simsun"/>
                <a:ea typeface="Simsun"/>
                <a:cs typeface="Arial"/>
                <a:sym typeface="Arial"/>
              </a:rPr>
              <a:t>会议 (INB2)</a:t>
            </a:r>
          </a:p>
          <a:p>
            <a:pPr marL="0" marR="0" lvl="0" indent="0" algn="l" defTabSz="457200" rtl="0" eaLnBrk="1" fontAlgn="auto" latinLnBrk="0" hangingPunct="1">
              <a:lnSpc>
                <a:spcPct val="100000"/>
              </a:lnSpc>
              <a:spcBef>
                <a:spcPct val="0"/>
              </a:spcBef>
              <a:spcAft>
                <a:spcPct val="0"/>
              </a:spcAft>
              <a:buClrTx/>
              <a:buSzTx/>
              <a:buFont typeface="Segoe UI" panose="020B0502040204020203" pitchFamily="34" charset="0"/>
              <a:buNone/>
              <a:defRPr/>
            </a:pPr>
            <a:r>
              <a:rPr kumimoji="0" lang="zh-Hans" sz="1200" b="0" i="1" u="none" strike="noStrike" kern="1200" cap="none" spc="0" normalizeH="0" baseline="0" noProof="0">
                <a:solidFill>
                  <a:srgbClr val="112946"/>
                </a:solidFill>
                <a:highlight>
                  <a:srgbClr val="000000">
                    <a:alpha val="0"/>
                  </a:srgbClr>
                </a:highlight>
                <a:uLnTx/>
                <a:uFillTx/>
                <a:latin typeface="Simsun"/>
                <a:ea typeface="Simsun"/>
                <a:cs typeface="Arial"/>
                <a:sym typeface="Arial"/>
              </a:rPr>
              <a:t>2022年12月5日至7日</a:t>
            </a:r>
          </a:p>
        </p:txBody>
      </p:sp>
      <p:sp>
        <p:nvSpPr>
          <p:cNvPr id="53" name="Freeform: Shape 52">
            <a:extLst>
              <a:ext uri="{FF2B5EF4-FFF2-40B4-BE49-F238E27FC236}">
                <a16:creationId xmlns:a16="http://schemas.microsoft.com/office/drawing/2014/main" id="{0958ABEC-1040-467D-B20D-721ED8F2011A}"/>
              </a:ext>
            </a:extLst>
          </p:cNvPr>
          <p:cNvSpPr/>
          <p:nvPr/>
        </p:nvSpPr>
        <p:spPr>
          <a:xfrm rot="10800000">
            <a:off x="7476682" y="2977896"/>
            <a:ext cx="1366545" cy="633467"/>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6DC78E4F-A961-4717-9A9C-555A548B9FD5}"/>
              </a:ext>
            </a:extLst>
          </p:cNvPr>
          <p:cNvSpPr/>
          <p:nvPr/>
        </p:nvSpPr>
        <p:spPr>
          <a:xfrm>
            <a:off x="3937285" y="2237941"/>
            <a:ext cx="2359431" cy="103471"/>
          </a:xfrm>
          <a:custGeom>
            <a:avLst/>
            <a:gdLst>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 name="connsiteX4" fmla="*/ 1346662 w 1346662"/>
              <a:gd name="connsiteY4" fmla="*/ 415637 h 415637"/>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pic>
        <p:nvPicPr>
          <p:cNvPr id="72" name="Picture 2" descr="EURO_blue_H RGB.eps">
            <a:extLst>
              <a:ext uri="{FF2B5EF4-FFF2-40B4-BE49-F238E27FC236}">
                <a16:creationId xmlns:a16="http://schemas.microsoft.com/office/drawing/2014/main" id="{9E2D0764-C533-44CA-8A09-84EC7FAF7E5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16897" y="5809025"/>
            <a:ext cx="1928699" cy="935127"/>
          </a:xfrm>
          <a:prstGeom prst="rect">
            <a:avLst/>
          </a:prstGeom>
          <a:noFill/>
          <a:extLst>
            <a:ext uri="{909E8E84-426E-40DD-AFC4-6F175D3DCCD1}">
              <a14:hiddenFill xmlns:a14="http://schemas.microsoft.com/office/drawing/2010/main">
                <a:solidFill>
                  <a:srgbClr val="FFFFFF"/>
                </a:solidFill>
              </a14:hiddenFill>
            </a:ext>
          </a:extLst>
        </p:spPr>
      </p:pic>
      <p:sp>
        <p:nvSpPr>
          <p:cNvPr id="58" name="Title 1">
            <a:extLst>
              <a:ext uri="{FF2B5EF4-FFF2-40B4-BE49-F238E27FC236}">
                <a16:creationId xmlns:a16="http://schemas.microsoft.com/office/drawing/2014/main" id="{C70C5DA0-7BCA-40E0-811D-B8CBB795665C}"/>
              </a:ext>
            </a:extLst>
          </p:cNvPr>
          <p:cNvSpPr txBox="1"/>
          <p:nvPr/>
        </p:nvSpPr>
        <p:spPr>
          <a:xfrm>
            <a:off x="948762" y="265207"/>
            <a:ext cx="11277600" cy="100488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0" i="0" kern="1200">
                <a:solidFill>
                  <a:srgbClr val="00205C"/>
                </a:solidFill>
                <a:latin typeface="+mn-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r>
              <a:rPr kumimoji="0" lang="zh-CN" altLang="en-US" sz="3200" b="0" i="0" u="none" strike="noStrike" kern="1200" cap="none" spc="0" normalizeH="0" baseline="0" noProof="0" dirty="0">
                <a:solidFill>
                  <a:srgbClr val="00205C"/>
                </a:solidFill>
                <a:highlight>
                  <a:srgbClr val="000000">
                    <a:alpha val="0"/>
                  </a:srgbClr>
                </a:highlight>
                <a:uLnTx/>
                <a:uFillTx/>
                <a:latin typeface="Simsun"/>
                <a:ea typeface="Simsun"/>
                <a:cs typeface="+mj-cs"/>
              </a:rPr>
              <a:t>走在建设更强大全球卫生安全架构的道路上</a:t>
            </a:r>
            <a:endParaRPr kumimoji="0" lang="zh-Hans" sz="3200" b="0" i="0" u="none" strike="noStrike" kern="1200" cap="none" spc="0" normalizeH="0" baseline="0" noProof="0" dirty="0">
              <a:solidFill>
                <a:srgbClr val="00205C"/>
              </a:solidFill>
              <a:highlight>
                <a:srgbClr val="000000">
                  <a:alpha val="0"/>
                </a:srgbClr>
              </a:highlight>
              <a:uLnTx/>
              <a:uFillTx/>
              <a:latin typeface="Simsun"/>
              <a:ea typeface="Simsun"/>
              <a:cs typeface="+mj-cs"/>
            </a:endParaRPr>
          </a:p>
        </p:txBody>
      </p:sp>
    </p:spTree>
    <p:extLst>
      <p:ext uri="{BB962C8B-B14F-4D97-AF65-F5344CB8AC3E}">
        <p14:creationId xmlns:p14="http://schemas.microsoft.com/office/powerpoint/2010/main" val="257536881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F4B16-6AAB-441C-B73E-6B560B749BD1}"/>
              </a:ext>
            </a:extLst>
          </p:cNvPr>
          <p:cNvSpPr>
            <a:spLocks noGrp="1"/>
          </p:cNvSpPr>
          <p:nvPr>
            <p:ph type="title"/>
          </p:nvPr>
        </p:nvSpPr>
        <p:spPr/>
        <p:txBody>
          <a:bodyPr>
            <a:noAutofit/>
          </a:bodyPr>
          <a:lstStyle/>
          <a:p>
            <a:pPr rtl="0"/>
            <a:r>
              <a:rPr lang="zh-Hans" sz="3200" b="0" i="0" u="none" strike="noStrike">
                <a:highlight>
                  <a:srgbClr val="000000">
                    <a:alpha val="0"/>
                  </a:srgbClr>
                </a:highlight>
                <a:latin typeface="Simsun"/>
                <a:ea typeface="Simsun"/>
              </a:rPr>
              <a:t>缔约国自我评估年度报告</a:t>
            </a:r>
            <a:br>
              <a:rPr lang="zh-Hans" sz="3200" b="0" i="0" u="none" strike="noStrike">
                <a:highlight>
                  <a:srgbClr val="000000">
                    <a:alpha val="0"/>
                  </a:srgbClr>
                </a:highlight>
                <a:latin typeface="Simsun"/>
                <a:ea typeface="Simsun"/>
              </a:rPr>
            </a:br>
            <a:r>
              <a:rPr lang="zh-Hans" sz="3200" b="0" i="0" u="none" strike="noStrike">
                <a:highlight>
                  <a:srgbClr val="000000">
                    <a:alpha val="0"/>
                  </a:srgbClr>
                </a:highlight>
                <a:latin typeface="Simsun"/>
                <a:ea typeface="Simsun"/>
              </a:rPr>
              <a:t> （SPAR）工具</a:t>
            </a:r>
          </a:p>
        </p:txBody>
      </p:sp>
      <p:sp>
        <p:nvSpPr>
          <p:cNvPr id="3" name="Content Placeholder 2">
            <a:extLst>
              <a:ext uri="{FF2B5EF4-FFF2-40B4-BE49-F238E27FC236}">
                <a16:creationId xmlns:a16="http://schemas.microsoft.com/office/drawing/2014/main" id="{5F4637F9-ADE2-4DB1-A414-D89A88823685}"/>
              </a:ext>
            </a:extLst>
          </p:cNvPr>
          <p:cNvSpPr>
            <a:spLocks noGrp="1"/>
          </p:cNvSpPr>
          <p:nvPr>
            <p:ph idx="1"/>
          </p:nvPr>
        </p:nvSpPr>
        <p:spPr>
          <a:xfrm>
            <a:off x="457200" y="1690687"/>
            <a:ext cx="5742972" cy="3816977"/>
          </a:xfrm>
        </p:spPr>
        <p:txBody>
          <a:bodyPr>
            <a:noAutofit/>
          </a:bodyPr>
          <a:lstStyle/>
          <a:p>
            <a:pPr marL="285750" indent="-285750" rtl="0">
              <a:lnSpc>
                <a:spcPct val="120000"/>
              </a:lnSpc>
              <a:buFont typeface="Arial" panose="020B0604020202020204" pitchFamily="34" charset="0"/>
              <a:buChar char="•"/>
            </a:pPr>
            <a:r>
              <a:rPr lang="zh-Hans" sz="2300" b="0" i="0" u="none" strike="noStrike" dirty="0">
                <a:highlight>
                  <a:srgbClr val="000000">
                    <a:alpha val="0"/>
                  </a:srgbClr>
                </a:highlight>
                <a:latin typeface="Simsun"/>
                <a:ea typeface="Simsun"/>
              </a:rPr>
              <a:t>有助于履行《国际卫生条例》第54条规定</a:t>
            </a:r>
            <a:r>
              <a:rPr lang="zh-CN" altLang="en-US" sz="2300" dirty="0">
                <a:highlight>
                  <a:srgbClr val="000000">
                    <a:alpha val="0"/>
                  </a:srgbClr>
                </a:highlight>
                <a:latin typeface="Simsun"/>
                <a:ea typeface="Simsun"/>
              </a:rPr>
              <a:t>的</a:t>
            </a:r>
            <a:r>
              <a:rPr lang="zh-Hans" sz="2300" b="0" i="0" u="none" strike="noStrike" dirty="0">
                <a:highlight>
                  <a:srgbClr val="000000">
                    <a:alpha val="0"/>
                  </a:srgbClr>
                </a:highlight>
                <a:latin typeface="Simsun"/>
                <a:ea typeface="Simsun"/>
              </a:rPr>
              <a:t>缔约国对世卫组织</a:t>
            </a:r>
            <a:r>
              <a:rPr lang="zh-CN" altLang="en-US" sz="2300" dirty="0">
                <a:highlight>
                  <a:srgbClr val="000000">
                    <a:alpha val="0"/>
                  </a:srgbClr>
                </a:highlight>
                <a:latin typeface="Simsun"/>
                <a:ea typeface="Simsun"/>
              </a:rPr>
              <a:t>报告</a:t>
            </a:r>
            <a:r>
              <a:rPr lang="zh-Hans" sz="2300" b="0" i="0" u="none" strike="noStrike" dirty="0">
                <a:highlight>
                  <a:srgbClr val="000000">
                    <a:alpha val="0"/>
                  </a:srgbClr>
                </a:highlight>
                <a:latin typeface="Simsun"/>
                <a:ea typeface="Simsun"/>
              </a:rPr>
              <a:t>进展的义务</a:t>
            </a:r>
            <a:endParaRPr lang="en-US" sz="2300" dirty="0"/>
          </a:p>
          <a:p>
            <a:pPr marL="285750" indent="-285750" rtl="0">
              <a:lnSpc>
                <a:spcPct val="120000"/>
              </a:lnSpc>
              <a:buFont typeface="Arial" panose="020B0604020202020204" pitchFamily="34" charset="0"/>
              <a:buChar char="•"/>
            </a:pPr>
            <a:r>
              <a:rPr lang="zh-Hans" sz="2300" b="0" i="0" u="none" strike="noStrike" dirty="0">
                <a:highlight>
                  <a:srgbClr val="000000">
                    <a:alpha val="0"/>
                  </a:srgbClr>
                </a:highlight>
                <a:latin typeface="Simsun"/>
                <a:ea typeface="Simsun"/>
              </a:rPr>
              <a:t>第一版于2018年推出（取代2010-2017年间使用的调查问卷），第二版于2021年推出。</a:t>
            </a:r>
          </a:p>
          <a:p>
            <a:pPr rtl="0">
              <a:lnSpc>
                <a:spcPct val="120000"/>
              </a:lnSpc>
            </a:pPr>
            <a:r>
              <a:rPr lang="zh-Hans" sz="2300" b="0" i="0" u="none" strike="noStrike" dirty="0">
                <a:highlight>
                  <a:srgbClr val="000000">
                    <a:alpha val="0"/>
                  </a:srgbClr>
                </a:highlight>
                <a:latin typeface="Simsun"/>
                <a:ea typeface="Simsun"/>
              </a:rPr>
              <a:t>世卫组织总干事使用SPAR数据起草向世卫大会提交的年度报告，</a:t>
            </a:r>
            <a:r>
              <a:rPr lang="zh-CN" altLang="en-US" sz="2300" dirty="0">
                <a:highlight>
                  <a:srgbClr val="000000">
                    <a:alpha val="0"/>
                  </a:srgbClr>
                </a:highlight>
                <a:latin typeface="Simsun"/>
                <a:ea typeface="Simsun"/>
              </a:rPr>
              <a:t>报告</a:t>
            </a:r>
            <a:r>
              <a:rPr lang="zh-Hans" sz="2300" b="0" i="0" u="none" strike="noStrike" dirty="0">
                <a:highlight>
                  <a:srgbClr val="000000">
                    <a:alpha val="0"/>
                  </a:srgbClr>
                </a:highlight>
                <a:latin typeface="Simsun"/>
                <a:ea typeface="Simsun"/>
              </a:rPr>
              <a:t>《国际卫生条例》的实施情况</a:t>
            </a:r>
          </a:p>
          <a:p>
            <a:endParaRPr lang="en-US" sz="2000" dirty="0"/>
          </a:p>
        </p:txBody>
      </p:sp>
      <p:sp>
        <p:nvSpPr>
          <p:cNvPr id="5" name="Slide Number Placeholder 4">
            <a:extLst>
              <a:ext uri="{FF2B5EF4-FFF2-40B4-BE49-F238E27FC236}">
                <a16:creationId xmlns:a16="http://schemas.microsoft.com/office/drawing/2014/main" id="{F4CE970C-DD7F-4B1F-A31D-2147FB4FA738}"/>
              </a:ext>
            </a:extLst>
          </p:cNvPr>
          <p:cNvSpPr>
            <a:spLocks noGrp="1"/>
          </p:cNvSpPr>
          <p:nvPr>
            <p:ph type="sldNum" sz="quarter" idx="12"/>
          </p:nvPr>
        </p:nvSpPr>
        <p:spPr/>
        <p:txBody>
          <a:bodyPr>
            <a:noAutofit/>
          </a:bodyPr>
          <a:lstStyle/>
          <a:p>
            <a:pPr rtl="0"/>
            <a:r>
              <a:rPr lang="zh-Hans" sz="900" b="0" i="0" u="none" strike="noStrike">
                <a:highlight>
                  <a:srgbClr val="000000">
                    <a:alpha val="0"/>
                  </a:srgbClr>
                </a:highlight>
                <a:latin typeface="Simsun"/>
                <a:ea typeface="Simsun"/>
              </a:rPr>
              <a:t>3</a:t>
            </a:r>
            <a:endParaRPr lang="en-US"/>
          </a:p>
        </p:txBody>
      </p:sp>
      <p:pic>
        <p:nvPicPr>
          <p:cNvPr id="6" name="Picture 5">
            <a:extLst>
              <a:ext uri="{FF2B5EF4-FFF2-40B4-BE49-F238E27FC236}">
                <a16:creationId xmlns:a16="http://schemas.microsoft.com/office/drawing/2014/main" id="{2E8A59E7-5D64-4068-8FD7-C5B0B051ECF1}"/>
              </a:ext>
            </a:extLst>
          </p:cNvPr>
          <p:cNvPicPr>
            <a:picLocks noChangeAspect="1"/>
          </p:cNvPicPr>
          <p:nvPr/>
        </p:nvPicPr>
        <p:blipFill>
          <a:blip r:embed="rId3"/>
          <a:stretch>
            <a:fillRect/>
          </a:stretch>
        </p:blipFill>
        <p:spPr>
          <a:xfrm>
            <a:off x="8287245" y="1305203"/>
            <a:ext cx="3374402" cy="47822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TextBox 6">
            <a:extLst>
              <a:ext uri="{FF2B5EF4-FFF2-40B4-BE49-F238E27FC236}">
                <a16:creationId xmlns:a16="http://schemas.microsoft.com/office/drawing/2014/main" id="{1ADD24FE-9088-4D0D-857D-ABCD84371E8F}"/>
              </a:ext>
            </a:extLst>
          </p:cNvPr>
          <p:cNvSpPr txBox="1"/>
          <p:nvPr/>
        </p:nvSpPr>
        <p:spPr>
          <a:xfrm>
            <a:off x="6200172" y="3028177"/>
            <a:ext cx="1512168" cy="1938992"/>
          </a:xfrm>
          <a:prstGeom prst="rect">
            <a:avLst/>
          </a:prstGeom>
          <a:noFill/>
        </p:spPr>
        <p:txBody>
          <a:bodyPr wrap="square" rtlCol="0">
            <a:noAutofit/>
          </a:bodyPr>
          <a:lstStyle/>
          <a:p>
            <a:pPr algn="ctr" rtl="0"/>
            <a:r>
              <a:rPr lang="zh-Hans" sz="2000" b="1" i="1" u="none" strike="noStrike" dirty="0">
                <a:solidFill>
                  <a:srgbClr val="00205C"/>
                </a:solidFill>
                <a:highlight>
                  <a:srgbClr val="000000">
                    <a:alpha val="0"/>
                  </a:srgbClr>
                </a:highlight>
                <a:latin typeface="Simsun"/>
                <a:ea typeface="Simsun"/>
              </a:rPr>
              <a:t>世卫组织55个欧洲缔约国中的51个在2021年提交了报告</a:t>
            </a:r>
          </a:p>
        </p:txBody>
      </p:sp>
      <p:grpSp>
        <p:nvGrpSpPr>
          <p:cNvPr id="8" name="Group 7">
            <a:extLst>
              <a:ext uri="{FF2B5EF4-FFF2-40B4-BE49-F238E27FC236}">
                <a16:creationId xmlns:a16="http://schemas.microsoft.com/office/drawing/2014/main" id="{A2A0AE87-09C1-4167-9936-E686317A470A}"/>
              </a:ext>
            </a:extLst>
          </p:cNvPr>
          <p:cNvGrpSpPr/>
          <p:nvPr/>
        </p:nvGrpSpPr>
        <p:grpSpPr>
          <a:xfrm>
            <a:off x="5918675" y="1528056"/>
            <a:ext cx="2075161" cy="1077218"/>
            <a:chOff x="6720362" y="396645"/>
            <a:chExt cx="2360275" cy="1077218"/>
          </a:xfrm>
        </p:grpSpPr>
        <p:sp>
          <p:nvSpPr>
            <p:cNvPr id="9" name="TextBox 8">
              <a:extLst>
                <a:ext uri="{FF2B5EF4-FFF2-40B4-BE49-F238E27FC236}">
                  <a16:creationId xmlns:a16="http://schemas.microsoft.com/office/drawing/2014/main" id="{12D515EA-564A-4F95-B11C-594B4C2F8721}"/>
                </a:ext>
              </a:extLst>
            </p:cNvPr>
            <p:cNvSpPr txBox="1"/>
            <p:nvPr/>
          </p:nvSpPr>
          <p:spPr>
            <a:xfrm>
              <a:off x="6720362" y="396645"/>
              <a:ext cx="2360275" cy="1077218"/>
            </a:xfrm>
            <a:prstGeom prst="rect">
              <a:avLst/>
            </a:prstGeom>
            <a:noFill/>
          </p:spPr>
          <p:txBody>
            <a:bodyPr wrap="square" rtlCol="0">
              <a:noAutofit/>
            </a:bodyPr>
            <a:lstStyle/>
            <a:p>
              <a:pPr algn="ctr" rtl="0"/>
              <a:r>
                <a:rPr lang="zh-Hans" sz="1600" b="0" i="1" u="none" strike="noStrike" dirty="0">
                  <a:highlight>
                    <a:srgbClr val="000000">
                      <a:alpha val="0"/>
                    </a:srgbClr>
                  </a:highlight>
                  <a:latin typeface="Simsun"/>
                  <a:ea typeface="Simsun"/>
                </a:rPr>
                <a:t>《国际卫生条例》第54条规定的义务</a:t>
              </a:r>
            </a:p>
          </p:txBody>
        </p:sp>
        <p:cxnSp>
          <p:nvCxnSpPr>
            <p:cNvPr id="10" name="Straight Connector 9">
              <a:extLst>
                <a:ext uri="{FF2B5EF4-FFF2-40B4-BE49-F238E27FC236}">
                  <a16:creationId xmlns:a16="http://schemas.microsoft.com/office/drawing/2014/main" id="{0F0FDA0B-775E-4D70-A514-429FB9930749}"/>
                </a:ext>
              </a:extLst>
            </p:cNvPr>
            <p:cNvCxnSpPr/>
            <p:nvPr/>
          </p:nvCxnSpPr>
          <p:spPr>
            <a:xfrm>
              <a:off x="7237996" y="396645"/>
              <a:ext cx="135122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BF5148D-4DD0-47D4-99C3-74AE163FA41C}"/>
                </a:ext>
              </a:extLst>
            </p:cNvPr>
            <p:cNvCxnSpPr/>
            <p:nvPr/>
          </p:nvCxnSpPr>
          <p:spPr>
            <a:xfrm>
              <a:off x="7237996" y="1471445"/>
              <a:ext cx="135122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BC08D0C1-674E-40C1-9EED-5C8798036019}"/>
              </a:ext>
            </a:extLst>
          </p:cNvPr>
          <p:cNvSpPr txBox="1"/>
          <p:nvPr/>
        </p:nvSpPr>
        <p:spPr>
          <a:xfrm>
            <a:off x="2952149" y="5555635"/>
            <a:ext cx="4953144" cy="954107"/>
          </a:xfrm>
          <a:prstGeom prst="rect">
            <a:avLst/>
          </a:prstGeom>
          <a:noFill/>
          <a:ln w="38100">
            <a:solidFill>
              <a:schemeClr val="tx1"/>
            </a:solidFill>
          </a:ln>
        </p:spPr>
        <p:txBody>
          <a:bodyPr wrap="square">
            <a:noAutofit/>
          </a:bodyPr>
          <a:lstStyle/>
          <a:p>
            <a:pPr marL="402418" indent="-396466" rtl="0"/>
            <a:r>
              <a:rPr lang="zh-CN" altLang="en-US" sz="1400" dirty="0">
                <a:highlight>
                  <a:srgbClr val="000000">
                    <a:alpha val="0"/>
                  </a:srgbClr>
                </a:highlight>
                <a:latin typeface="Simsun"/>
                <a:ea typeface="Simsun"/>
              </a:rPr>
              <a:t>“</a:t>
            </a:r>
            <a:r>
              <a:rPr lang="zh-Hans" sz="1400" b="0" i="0" u="none" strike="noStrike" dirty="0">
                <a:highlight>
                  <a:srgbClr val="000000">
                    <a:alpha val="0"/>
                  </a:srgbClr>
                </a:highlight>
                <a:latin typeface="Simsun"/>
                <a:ea typeface="Simsun"/>
              </a:rPr>
              <a:t>缔约国和总干事应继续</a:t>
            </a:r>
            <a:r>
              <a:rPr lang="zh-CN" altLang="en-US" sz="1400" b="1" i="0" u="none" strike="noStrike" dirty="0">
                <a:highlight>
                  <a:srgbClr val="000000">
                    <a:alpha val="0"/>
                  </a:srgbClr>
                </a:highlight>
                <a:latin typeface="Simsun"/>
                <a:ea typeface="Simsun"/>
              </a:rPr>
              <a:t>使用自我评估年度</a:t>
            </a:r>
            <a:r>
              <a:rPr lang="zh-Hans" sz="1400" b="1" i="0" u="none" strike="noStrike" dirty="0">
                <a:highlight>
                  <a:srgbClr val="000000">
                    <a:alpha val="0"/>
                  </a:srgbClr>
                </a:highlight>
                <a:latin typeface="Simsun"/>
                <a:ea typeface="Simsun"/>
              </a:rPr>
              <a:t>报告</a:t>
            </a:r>
            <a:r>
              <a:rPr lang="zh-CN" altLang="en-US" sz="1400" b="1" i="0" u="none" strike="noStrike" dirty="0">
                <a:highlight>
                  <a:srgbClr val="000000">
                    <a:alpha val="0"/>
                  </a:srgbClr>
                </a:highlight>
                <a:latin typeface="Simsun"/>
                <a:ea typeface="Simsun"/>
              </a:rPr>
              <a:t>工具</a:t>
            </a:r>
            <a:endParaRPr lang="zh-Hans" sz="1400" b="1" i="0" u="none" strike="noStrike" dirty="0">
              <a:highlight>
                <a:srgbClr val="000000">
                  <a:alpha val="0"/>
                </a:srgbClr>
              </a:highlight>
              <a:latin typeface="Simsun"/>
              <a:ea typeface="Simsun"/>
            </a:endParaRPr>
          </a:p>
          <a:p>
            <a:pPr marL="402418" indent="-396466" rtl="0"/>
            <a:r>
              <a:rPr lang="zh-Hans" sz="1400" b="0" i="0" u="none" strike="noStrike" dirty="0">
                <a:highlight>
                  <a:srgbClr val="000000">
                    <a:alpha val="0"/>
                  </a:srgbClr>
                </a:highlight>
                <a:latin typeface="Simsun"/>
                <a:ea typeface="Simsun"/>
              </a:rPr>
              <a:t>每年向世卫大会</a:t>
            </a:r>
            <a:r>
              <a:rPr lang="zh-CN" altLang="en-US" sz="1400" dirty="0">
                <a:highlight>
                  <a:srgbClr val="000000">
                    <a:alpha val="0"/>
                  </a:srgbClr>
                </a:highlight>
                <a:latin typeface="Simsun"/>
                <a:ea typeface="Simsun"/>
              </a:rPr>
              <a:t>报告</a:t>
            </a:r>
            <a:r>
              <a:rPr lang="en-US" altLang="zh-CN" sz="1400" b="0" i="0" u="none" strike="noStrike" dirty="0">
                <a:highlight>
                  <a:srgbClr val="000000">
                    <a:alpha val="0"/>
                  </a:srgbClr>
                </a:highlight>
                <a:latin typeface="Simsun"/>
                <a:ea typeface="Simsun"/>
              </a:rPr>
              <a:t>《</a:t>
            </a:r>
            <a:r>
              <a:rPr lang="zh-CN" altLang="en-US" sz="1400" b="0" i="0" u="none" strike="noStrike" dirty="0">
                <a:highlight>
                  <a:srgbClr val="000000">
                    <a:alpha val="0"/>
                  </a:srgbClr>
                </a:highlight>
                <a:latin typeface="Simsun"/>
                <a:ea typeface="Simsun"/>
              </a:rPr>
              <a:t>国家卫生条例</a:t>
            </a:r>
            <a:r>
              <a:rPr lang="en-US" altLang="zh-CN" sz="1400" b="0" i="0" u="none" strike="noStrike" dirty="0">
                <a:highlight>
                  <a:srgbClr val="000000">
                    <a:alpha val="0"/>
                  </a:srgbClr>
                </a:highlight>
                <a:latin typeface="Simsun"/>
                <a:ea typeface="Simsun"/>
              </a:rPr>
              <a:t>》</a:t>
            </a:r>
            <a:r>
              <a:rPr lang="zh-CN" altLang="en-US" sz="1400" b="0" i="0" u="none" strike="noStrike" dirty="0">
                <a:highlight>
                  <a:srgbClr val="000000">
                    <a:alpha val="0"/>
                  </a:srgbClr>
                </a:highlight>
                <a:latin typeface="Simsun"/>
                <a:ea typeface="Simsun"/>
              </a:rPr>
              <a:t>（</a:t>
            </a:r>
            <a:r>
              <a:rPr lang="en-US" altLang="zh-CN" sz="1400" b="0" i="0" u="none" strike="noStrike" dirty="0">
                <a:highlight>
                  <a:srgbClr val="000000">
                    <a:alpha val="0"/>
                  </a:srgbClr>
                </a:highlight>
                <a:latin typeface="Simsun"/>
                <a:ea typeface="Simsun"/>
              </a:rPr>
              <a:t>2005</a:t>
            </a:r>
            <a:r>
              <a:rPr lang="zh-CN" altLang="en-US" sz="1400" b="0" i="0" u="none" strike="noStrike" dirty="0">
                <a:highlight>
                  <a:srgbClr val="000000">
                    <a:alpha val="0"/>
                  </a:srgbClr>
                </a:highlight>
                <a:latin typeface="Simsun"/>
                <a:ea typeface="Simsun"/>
              </a:rPr>
              <a:t>）的实施情况</a:t>
            </a:r>
            <a:r>
              <a:rPr lang="zh-CN" altLang="en-US" sz="1400" dirty="0">
                <a:highlight>
                  <a:srgbClr val="000000">
                    <a:alpha val="0"/>
                  </a:srgbClr>
                </a:highlight>
                <a:latin typeface="Simsun"/>
                <a:ea typeface="Simsun"/>
              </a:rPr>
              <a:t>。</a:t>
            </a:r>
            <a:r>
              <a:rPr lang="en-US" altLang="zh-CN" sz="1400" b="0" i="0" u="none" strike="noStrike" dirty="0">
                <a:highlight>
                  <a:srgbClr val="000000">
                    <a:alpha val="0"/>
                  </a:srgbClr>
                </a:highlight>
                <a:latin typeface="Simsun"/>
                <a:ea typeface="Simsun"/>
              </a:rPr>
              <a:t>”</a:t>
            </a:r>
            <a:r>
              <a:rPr lang="en-US" altLang="zh-CN" sz="1400" b="1" i="1" u="none" strike="noStrike" dirty="0">
                <a:highlight>
                  <a:srgbClr val="000000">
                    <a:alpha val="0"/>
                  </a:srgbClr>
                </a:highlight>
                <a:latin typeface="Simsun"/>
                <a:ea typeface="Simsun"/>
              </a:rPr>
              <a:t>(</a:t>
            </a:r>
            <a:r>
              <a:rPr lang="zh-Hans" sz="1400" b="1" i="1" u="sng" strike="noStrike" dirty="0">
                <a:solidFill>
                  <a:srgbClr val="009ADE"/>
                </a:solidFill>
                <a:highlight>
                  <a:srgbClr val="000000">
                    <a:alpha val="0"/>
                  </a:srgbClr>
                </a:highlight>
                <a:latin typeface="Simsun"/>
                <a:ea typeface="Simsun"/>
              </a:rPr>
              <a:t>WHA(15)号决定，2018</a:t>
            </a:r>
            <a:r>
              <a:rPr lang="zh-CN" altLang="en-US" sz="1400" b="1" i="1" strike="noStrike" dirty="0">
                <a:highlight>
                  <a:srgbClr val="000000">
                    <a:alpha val="0"/>
                  </a:srgbClr>
                </a:highlight>
                <a:latin typeface="Simsun"/>
                <a:ea typeface="Simsun"/>
              </a:rPr>
              <a:t>）</a:t>
            </a:r>
            <a:endParaRPr lang="en-GB" sz="1600" dirty="0">
              <a:solidFill>
                <a:srgbClr val="009ADE"/>
              </a:solidFill>
            </a:endParaRPr>
          </a:p>
        </p:txBody>
      </p:sp>
    </p:spTree>
    <p:extLst>
      <p:ext uri="{BB962C8B-B14F-4D97-AF65-F5344CB8AC3E}">
        <p14:creationId xmlns:p14="http://schemas.microsoft.com/office/powerpoint/2010/main" val="382425828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Diagram 8">
            <a:extLst>
              <a:ext uri="{FF2B5EF4-FFF2-40B4-BE49-F238E27FC236}">
                <a16:creationId xmlns:a16="http://schemas.microsoft.com/office/drawing/2014/main" id="{4C5179AA-8959-40A9-A619-1940917DB744}"/>
              </a:ext>
            </a:extLst>
          </p:cNvPr>
          <p:cNvGraphicFramePr/>
          <p:nvPr>
            <p:extLst>
              <p:ext uri="{D42A27DB-BD31-4B8C-83A1-F6EECF244321}">
                <p14:modId xmlns:p14="http://schemas.microsoft.com/office/powerpoint/2010/main" val="2720143973"/>
              </p:ext>
            </p:extLst>
          </p:nvPr>
        </p:nvGraphicFramePr>
        <p:xfrm>
          <a:off x="3366004" y="3121148"/>
          <a:ext cx="8521285" cy="391678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051D6AC-1BAE-40AA-9108-317DE478A224}"/>
              </a:ext>
            </a:extLst>
          </p:cNvPr>
          <p:cNvSpPr>
            <a:spLocks noGrp="1"/>
          </p:cNvSpPr>
          <p:nvPr>
            <p:ph type="title"/>
          </p:nvPr>
        </p:nvSpPr>
        <p:spPr>
          <a:xfrm>
            <a:off x="457200" y="612509"/>
            <a:ext cx="11277600" cy="1004888"/>
          </a:xfrm>
        </p:spPr>
        <p:txBody>
          <a:bodyPr>
            <a:noAutofit/>
          </a:bodyPr>
          <a:lstStyle/>
          <a:p>
            <a:pPr rtl="0"/>
            <a:r>
              <a:rPr lang="zh-Hans" sz="3200" b="0" i="0" u="none" strike="noStrike">
                <a:highlight>
                  <a:srgbClr val="000000">
                    <a:alpha val="0"/>
                  </a:srgbClr>
                </a:highlight>
                <a:latin typeface="Simsun"/>
                <a:ea typeface="Simsun"/>
              </a:rPr>
              <a:t>世卫组织欧洲区域2021年SPAR概览</a:t>
            </a:r>
            <a:br>
              <a:rPr lang="zh-Hans" sz="3200" b="0" i="0" u="none" strike="noStrike">
                <a:highlight>
                  <a:srgbClr val="000000">
                    <a:alpha val="0"/>
                  </a:srgbClr>
                </a:highlight>
                <a:latin typeface="Simsun"/>
                <a:ea typeface="Simsun"/>
              </a:rPr>
            </a:br>
            <a:endParaRPr lang="en-US"/>
          </a:p>
        </p:txBody>
      </p:sp>
      <p:sp>
        <p:nvSpPr>
          <p:cNvPr id="4" name="Footer Placeholder 3">
            <a:extLst>
              <a:ext uri="{FF2B5EF4-FFF2-40B4-BE49-F238E27FC236}">
                <a16:creationId xmlns:a16="http://schemas.microsoft.com/office/drawing/2014/main" id="{E7F8E7E4-6A69-4E29-9368-02FF619FFA03}"/>
              </a:ext>
            </a:extLst>
          </p:cNvPr>
          <p:cNvSpPr>
            <a:spLocks noGrp="1"/>
          </p:cNvSpPr>
          <p:nvPr>
            <p:ph type="ftr" sz="quarter" idx="11"/>
          </p:nvPr>
        </p:nvSpPr>
        <p:spPr/>
        <p:txBody>
          <a:bodyPr>
            <a:noAutofit/>
          </a:bodyPr>
          <a:lstStyle/>
          <a:p>
            <a:pPr rtl="0"/>
            <a:r>
              <a:rPr lang="zh-Hans" sz="900" b="0" i="0" u="none" strike="noStrike">
                <a:highlight>
                  <a:srgbClr val="000000">
                    <a:alpha val="0"/>
                  </a:srgbClr>
                </a:highlight>
                <a:latin typeface="Simsun"/>
                <a:ea typeface="Simsun"/>
              </a:rPr>
              <a:t>本幻灯片上的所有数据都是2022年6月13日从SPAR在线报告电子平台中提取的。</a:t>
            </a:r>
          </a:p>
        </p:txBody>
      </p:sp>
      <p:sp>
        <p:nvSpPr>
          <p:cNvPr id="5" name="Slide Number Placeholder 4">
            <a:extLst>
              <a:ext uri="{FF2B5EF4-FFF2-40B4-BE49-F238E27FC236}">
                <a16:creationId xmlns:a16="http://schemas.microsoft.com/office/drawing/2014/main" id="{C6DBEA63-5654-4F3F-83CB-157AE14A46C5}"/>
              </a:ext>
            </a:extLst>
          </p:cNvPr>
          <p:cNvSpPr>
            <a:spLocks noGrp="1"/>
          </p:cNvSpPr>
          <p:nvPr>
            <p:ph type="sldNum" sz="quarter" idx="12"/>
          </p:nvPr>
        </p:nvSpPr>
        <p:spPr/>
        <p:txBody>
          <a:bodyPr>
            <a:noAutofit/>
          </a:bodyPr>
          <a:lstStyle/>
          <a:p>
            <a:pPr rtl="0"/>
            <a:r>
              <a:rPr lang="zh-Hans" sz="900" b="0" i="0" u="none" strike="noStrike">
                <a:highlight>
                  <a:srgbClr val="000000">
                    <a:alpha val="0"/>
                  </a:srgbClr>
                </a:highlight>
                <a:latin typeface="Simsun"/>
                <a:ea typeface="Simsun"/>
              </a:rPr>
              <a:t>4</a:t>
            </a:r>
            <a:endParaRPr lang="en-US"/>
          </a:p>
        </p:txBody>
      </p:sp>
      <p:sp>
        <p:nvSpPr>
          <p:cNvPr id="27" name="Slide Number Placeholder 5">
            <a:extLst>
              <a:ext uri="{FF2B5EF4-FFF2-40B4-BE49-F238E27FC236}">
                <a16:creationId xmlns:a16="http://schemas.microsoft.com/office/drawing/2014/main" id="{BDBF5D9B-E31E-4BA5-B351-96B51B81B3D9}"/>
              </a:ext>
            </a:extLst>
          </p:cNvPr>
          <p:cNvSpPr txBox="1"/>
          <p:nvPr/>
        </p:nvSpPr>
        <p:spPr bwMode="invGray">
          <a:xfrm>
            <a:off x="11416433" y="6580588"/>
            <a:ext cx="289931" cy="180000"/>
          </a:xfrm>
          <a:prstGeom prst="rect">
            <a:avLst/>
          </a:prstGeom>
        </p:spPr>
        <p:txBody>
          <a:bodyPr vert="horz" lIns="0" tIns="0" rIns="0" bIns="0" rtlCol="0" anchor="t">
            <a:noAutofit/>
          </a:bodyPr>
          <a:lstStyle>
            <a:defPPr>
              <a:defRPr lang="en-US"/>
            </a:defPPr>
            <a:lvl1pPr marL="0" algn="r" defTabSz="914400" rtl="0" eaLnBrk="1" latinLnBrk="0" hangingPunct="1">
              <a:defRPr sz="800" b="0" kern="1200">
                <a:solidFill>
                  <a:schemeClr val="tx1"/>
                </a:solidFill>
                <a:latin typeface="+mn-lt"/>
                <a:ea typeface="+mn-ea"/>
                <a:cs typeface="Times New Roman" panose="0202060305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rtl="0">
              <a:defRPr/>
            </a:pPr>
            <a:r>
              <a:rPr lang="zh-Hans" sz="800" b="0" i="0" u="none" strike="noStrike">
                <a:solidFill>
                  <a:srgbClr val="000000"/>
                </a:solidFill>
                <a:highlight>
                  <a:srgbClr val="000000">
                    <a:alpha val="0"/>
                  </a:srgbClr>
                </a:highlight>
                <a:latin typeface="Simsun"/>
                <a:ea typeface="Simsun"/>
              </a:rPr>
              <a:t>4</a:t>
            </a:r>
            <a:endParaRPr lang="en-GB">
              <a:solidFill>
                <a:prstClr val="black"/>
              </a:solidFill>
              <a:latin typeface="Arial"/>
            </a:endParaRPr>
          </a:p>
        </p:txBody>
      </p:sp>
      <p:graphicFrame>
        <p:nvGraphicFramePr>
          <p:cNvPr id="29" name="Diagram 9">
            <a:extLst>
              <a:ext uri="{FF2B5EF4-FFF2-40B4-BE49-F238E27FC236}">
                <a16:creationId xmlns:a16="http://schemas.microsoft.com/office/drawing/2014/main" id="{BD867813-85C5-4EEA-808B-E4FFAA341BE8}"/>
              </a:ext>
            </a:extLst>
          </p:cNvPr>
          <p:cNvGraphicFramePr/>
          <p:nvPr>
            <p:extLst>
              <p:ext uri="{D42A27DB-BD31-4B8C-83A1-F6EECF244321}">
                <p14:modId xmlns:p14="http://schemas.microsoft.com/office/powerpoint/2010/main" val="1381520115"/>
              </p:ext>
            </p:extLst>
          </p:nvPr>
        </p:nvGraphicFramePr>
        <p:xfrm>
          <a:off x="4774814" y="1787012"/>
          <a:ext cx="3058266" cy="15153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Diagram 15">
            <a:extLst>
              <a:ext uri="{FF2B5EF4-FFF2-40B4-BE49-F238E27FC236}">
                <a16:creationId xmlns:a16="http://schemas.microsoft.com/office/drawing/2014/main" id="{19FB572A-155B-420D-AD95-7355CF031FEB}"/>
              </a:ext>
            </a:extLst>
          </p:cNvPr>
          <p:cNvGraphicFramePr/>
          <p:nvPr>
            <p:extLst>
              <p:ext uri="{D42A27DB-BD31-4B8C-83A1-F6EECF244321}">
                <p14:modId xmlns:p14="http://schemas.microsoft.com/office/powerpoint/2010/main" val="1906218348"/>
              </p:ext>
            </p:extLst>
          </p:nvPr>
        </p:nvGraphicFramePr>
        <p:xfrm>
          <a:off x="5983666" y="983130"/>
          <a:ext cx="3570384" cy="21537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1" name="Diagram 16">
            <a:extLst>
              <a:ext uri="{FF2B5EF4-FFF2-40B4-BE49-F238E27FC236}">
                <a16:creationId xmlns:a16="http://schemas.microsoft.com/office/drawing/2014/main" id="{60F91792-60D1-425F-9507-9F60FEA741D5}"/>
              </a:ext>
            </a:extLst>
          </p:cNvPr>
          <p:cNvGraphicFramePr/>
          <p:nvPr>
            <p:extLst>
              <p:ext uri="{D42A27DB-BD31-4B8C-83A1-F6EECF244321}">
                <p14:modId xmlns:p14="http://schemas.microsoft.com/office/powerpoint/2010/main" val="2164263260"/>
              </p:ext>
            </p:extLst>
          </p:nvPr>
        </p:nvGraphicFramePr>
        <p:xfrm>
          <a:off x="4165278" y="996531"/>
          <a:ext cx="3461369" cy="20541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Chart 31">
            <a:extLst>
              <a:ext uri="{FF2B5EF4-FFF2-40B4-BE49-F238E27FC236}">
                <a16:creationId xmlns:a16="http://schemas.microsoft.com/office/drawing/2014/main" id="{8BBAA357-2CB4-4026-AD6A-7D3CF2A4C0B8}"/>
              </a:ext>
            </a:extLst>
          </p:cNvPr>
          <p:cNvGraphicFramePr/>
          <p:nvPr>
            <p:extLst>
              <p:ext uri="{D42A27DB-BD31-4B8C-83A1-F6EECF244321}">
                <p14:modId xmlns:p14="http://schemas.microsoft.com/office/powerpoint/2010/main" val="1462886387"/>
              </p:ext>
            </p:extLst>
          </p:nvPr>
        </p:nvGraphicFramePr>
        <p:xfrm>
          <a:off x="477281" y="3429000"/>
          <a:ext cx="3355953" cy="211584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3" name="Chart 32">
            <a:extLst>
              <a:ext uri="{FF2B5EF4-FFF2-40B4-BE49-F238E27FC236}">
                <a16:creationId xmlns:a16="http://schemas.microsoft.com/office/drawing/2014/main" id="{7D5DEC34-19F4-49C7-85D4-B3DB418266E4}"/>
              </a:ext>
            </a:extLst>
          </p:cNvPr>
          <p:cNvGraphicFramePr/>
          <p:nvPr>
            <p:extLst>
              <p:ext uri="{D42A27DB-BD31-4B8C-83A1-F6EECF244321}">
                <p14:modId xmlns:p14="http://schemas.microsoft.com/office/powerpoint/2010/main" val="2597198031"/>
              </p:ext>
            </p:extLst>
          </p:nvPr>
        </p:nvGraphicFramePr>
        <p:xfrm>
          <a:off x="477281" y="1249089"/>
          <a:ext cx="3355953" cy="224552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7" name="Table 37">
            <a:extLst>
              <a:ext uri="{FF2B5EF4-FFF2-40B4-BE49-F238E27FC236}">
                <a16:creationId xmlns:a16="http://schemas.microsoft.com/office/drawing/2014/main" id="{7D3A1C28-4169-4A58-B0C4-082AB3E5D6DB}"/>
              </a:ext>
            </a:extLst>
          </p:cNvPr>
          <p:cNvGraphicFramePr>
            <a:graphicFrameLocks noGrp="1"/>
          </p:cNvGraphicFramePr>
          <p:nvPr>
            <p:extLst>
              <p:ext uri="{D42A27DB-BD31-4B8C-83A1-F6EECF244321}">
                <p14:modId xmlns:p14="http://schemas.microsoft.com/office/powerpoint/2010/main" val="2233338580"/>
              </p:ext>
            </p:extLst>
          </p:nvPr>
        </p:nvGraphicFramePr>
        <p:xfrm>
          <a:off x="8938827" y="843189"/>
          <a:ext cx="2722665" cy="2139969"/>
        </p:xfrm>
        <a:graphic>
          <a:graphicData uri="http://schemas.openxmlformats.org/drawingml/2006/table">
            <a:tbl>
              <a:tblPr firstRow="1" bandRow="1">
                <a:tableStyleId>{5C22544A-7EE6-4342-B048-85BDC9FD1C3A}</a:tableStyleId>
              </a:tblPr>
              <a:tblGrid>
                <a:gridCol w="2155264">
                  <a:extLst>
                    <a:ext uri="{9D8B030D-6E8A-4147-A177-3AD203B41FA5}">
                      <a16:colId xmlns:a16="http://schemas.microsoft.com/office/drawing/2014/main" val="1225966723"/>
                    </a:ext>
                  </a:extLst>
                </a:gridCol>
                <a:gridCol w="567401">
                  <a:extLst>
                    <a:ext uri="{9D8B030D-6E8A-4147-A177-3AD203B41FA5}">
                      <a16:colId xmlns:a16="http://schemas.microsoft.com/office/drawing/2014/main" val="4056744616"/>
                    </a:ext>
                  </a:extLst>
                </a:gridCol>
              </a:tblGrid>
              <a:tr h="327239">
                <a:tc gridSpan="2">
                  <a:txBody>
                    <a:bodyPr/>
                    <a:lstStyle/>
                    <a:p>
                      <a:pPr rtl="0"/>
                      <a:r>
                        <a:rPr lang="zh-Hans" sz="1400" b="1" i="0" u="none" strike="noStrike">
                          <a:highlight>
                            <a:srgbClr val="000000">
                              <a:alpha val="0"/>
                            </a:srgbClr>
                          </a:highlight>
                          <a:latin typeface="Simsun"/>
                          <a:ea typeface="Simsun"/>
                        </a:rPr>
                        <a:t>IHR指定的入境点</a:t>
                      </a:r>
                    </a:p>
                  </a:txBody>
                  <a:tcPr/>
                </a:tc>
                <a:tc hMerge="1">
                  <a:txBody>
                    <a:bodyPr/>
                    <a:lstStyle/>
                    <a:p>
                      <a:endParaRPr lang="en-US"/>
                    </a:p>
                  </a:txBody>
                  <a:tcPr/>
                </a:tc>
                <a:extLst>
                  <a:ext uri="{0D108BD9-81ED-4DB2-BD59-A6C34878D82A}">
                    <a16:rowId xmlns:a16="http://schemas.microsoft.com/office/drawing/2014/main" val="928447134"/>
                  </a:ext>
                </a:extLst>
              </a:tr>
              <a:tr h="327239">
                <a:tc>
                  <a:txBody>
                    <a:bodyPr/>
                    <a:lstStyle/>
                    <a:p>
                      <a:pPr rtl="0"/>
                      <a:r>
                        <a:rPr lang="zh-Hans" sz="1400" b="0" i="0" u="none" strike="noStrike">
                          <a:highlight>
                            <a:srgbClr val="000000">
                              <a:alpha val="0"/>
                            </a:srgbClr>
                          </a:highlight>
                          <a:latin typeface="Simsun"/>
                          <a:ea typeface="Simsun"/>
                        </a:rPr>
                        <a:t>港口</a:t>
                      </a:r>
                    </a:p>
                  </a:txBody>
                  <a:tcPr/>
                </a:tc>
                <a:tc>
                  <a:txBody>
                    <a:bodyPr/>
                    <a:lstStyle/>
                    <a:p>
                      <a:pPr rtl="0"/>
                      <a:r>
                        <a:rPr lang="zh-Hans" sz="1600" b="0" i="0" u="none" strike="noStrike">
                          <a:highlight>
                            <a:srgbClr val="000000">
                              <a:alpha val="0"/>
                            </a:srgbClr>
                          </a:highlight>
                          <a:latin typeface="Simsun"/>
                          <a:ea typeface="Simsun"/>
                        </a:rPr>
                        <a:t>226</a:t>
                      </a:r>
                    </a:p>
                  </a:txBody>
                  <a:tcPr/>
                </a:tc>
                <a:extLst>
                  <a:ext uri="{0D108BD9-81ED-4DB2-BD59-A6C34878D82A}">
                    <a16:rowId xmlns:a16="http://schemas.microsoft.com/office/drawing/2014/main" val="3620707211"/>
                  </a:ext>
                </a:extLst>
              </a:tr>
              <a:tr h="327239">
                <a:tc>
                  <a:txBody>
                    <a:bodyPr/>
                    <a:lstStyle/>
                    <a:p>
                      <a:pPr rtl="0"/>
                      <a:r>
                        <a:rPr lang="zh-Hans" sz="1400" b="0" i="0" u="none" strike="noStrike">
                          <a:highlight>
                            <a:srgbClr val="000000">
                              <a:alpha val="0"/>
                            </a:srgbClr>
                          </a:highlight>
                          <a:latin typeface="Simsun"/>
                          <a:ea typeface="Simsun"/>
                        </a:rPr>
                        <a:t>机场</a:t>
                      </a:r>
                    </a:p>
                  </a:txBody>
                  <a:tcPr/>
                </a:tc>
                <a:tc>
                  <a:txBody>
                    <a:bodyPr/>
                    <a:lstStyle/>
                    <a:p>
                      <a:pPr rtl="0"/>
                      <a:r>
                        <a:rPr lang="zh-Hans" sz="1600" b="0" i="0" u="none" strike="noStrike">
                          <a:highlight>
                            <a:srgbClr val="000000">
                              <a:alpha val="0"/>
                            </a:srgbClr>
                          </a:highlight>
                          <a:latin typeface="Simsun"/>
                          <a:ea typeface="Simsun"/>
                        </a:rPr>
                        <a:t>206</a:t>
                      </a:r>
                    </a:p>
                  </a:txBody>
                  <a:tcPr/>
                </a:tc>
                <a:extLst>
                  <a:ext uri="{0D108BD9-81ED-4DB2-BD59-A6C34878D82A}">
                    <a16:rowId xmlns:a16="http://schemas.microsoft.com/office/drawing/2014/main" val="1540976418"/>
                  </a:ext>
                </a:extLst>
              </a:tr>
              <a:tr h="327239">
                <a:tc>
                  <a:txBody>
                    <a:bodyPr/>
                    <a:lstStyle/>
                    <a:p>
                      <a:pPr rtl="0"/>
                      <a:r>
                        <a:rPr lang="zh-Hans" sz="1400" b="0" i="0" u="none" strike="noStrike">
                          <a:highlight>
                            <a:srgbClr val="000000">
                              <a:alpha val="0"/>
                            </a:srgbClr>
                          </a:highlight>
                          <a:latin typeface="Simsun"/>
                          <a:ea typeface="Simsun"/>
                        </a:rPr>
                        <a:t>地面过境点</a:t>
                      </a:r>
                    </a:p>
                  </a:txBody>
                  <a:tcPr/>
                </a:tc>
                <a:tc>
                  <a:txBody>
                    <a:bodyPr/>
                    <a:lstStyle/>
                    <a:p>
                      <a:pPr rtl="0"/>
                      <a:r>
                        <a:rPr lang="zh-Hans" sz="1600" b="0" i="0" u="none" strike="noStrike">
                          <a:highlight>
                            <a:srgbClr val="000000">
                              <a:alpha val="0"/>
                            </a:srgbClr>
                          </a:highlight>
                          <a:latin typeface="Simsun"/>
                          <a:ea typeface="Simsun"/>
                        </a:rPr>
                        <a:t>214</a:t>
                      </a:r>
                    </a:p>
                  </a:txBody>
                  <a:tcPr/>
                </a:tc>
                <a:extLst>
                  <a:ext uri="{0D108BD9-81ED-4DB2-BD59-A6C34878D82A}">
                    <a16:rowId xmlns:a16="http://schemas.microsoft.com/office/drawing/2014/main" val="3372214510"/>
                  </a:ext>
                </a:extLst>
              </a:tr>
              <a:tr h="806890">
                <a:tc>
                  <a:txBody>
                    <a:bodyPr/>
                    <a:lstStyle/>
                    <a:p>
                      <a:pPr rtl="0"/>
                      <a:r>
                        <a:rPr lang="zh-Hans" sz="1400" b="0" i="0" u="none" strike="noStrike" dirty="0">
                          <a:highlight>
                            <a:srgbClr val="000000">
                              <a:alpha val="0"/>
                            </a:srgbClr>
                          </a:highlight>
                          <a:latin typeface="Simsun"/>
                          <a:ea typeface="Simsun"/>
                        </a:rPr>
                        <a:t>报告授权港口签发船舶卫生证书（SSC）的缔约国数量</a:t>
                      </a:r>
                    </a:p>
                  </a:txBody>
                  <a:tcPr/>
                </a:tc>
                <a:tc>
                  <a:txBody>
                    <a:bodyPr/>
                    <a:lstStyle/>
                    <a:p>
                      <a:pPr rtl="0"/>
                      <a:r>
                        <a:rPr lang="zh-Hans" sz="1600" b="0" i="0" u="none" strike="noStrike" dirty="0">
                          <a:highlight>
                            <a:srgbClr val="000000">
                              <a:alpha val="0"/>
                            </a:srgbClr>
                          </a:highlight>
                          <a:latin typeface="Simsun"/>
                          <a:ea typeface="Simsun"/>
                        </a:rPr>
                        <a:t>33</a:t>
                      </a:r>
                    </a:p>
                  </a:txBody>
                  <a:tcPr/>
                </a:tc>
                <a:extLst>
                  <a:ext uri="{0D108BD9-81ED-4DB2-BD59-A6C34878D82A}">
                    <a16:rowId xmlns:a16="http://schemas.microsoft.com/office/drawing/2014/main" val="712922593"/>
                  </a:ext>
                </a:extLst>
              </a:tr>
            </a:tbl>
          </a:graphicData>
        </a:graphic>
      </p:graphicFrame>
    </p:spTree>
    <p:extLst>
      <p:ext uri="{BB962C8B-B14F-4D97-AF65-F5344CB8AC3E}">
        <p14:creationId xmlns:p14="http://schemas.microsoft.com/office/powerpoint/2010/main" val="421997882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A3FD7-21F8-40BC-90B9-61BD38E82920}"/>
              </a:ext>
            </a:extLst>
          </p:cNvPr>
          <p:cNvSpPr>
            <a:spLocks noGrp="1"/>
          </p:cNvSpPr>
          <p:nvPr>
            <p:ph type="title"/>
          </p:nvPr>
        </p:nvSpPr>
        <p:spPr/>
        <p:txBody>
          <a:bodyPr>
            <a:noAutofit/>
          </a:bodyPr>
          <a:lstStyle/>
          <a:p>
            <a:pPr rtl="0"/>
            <a:r>
              <a:rPr lang="zh-CN" altLang="en-US" sz="3200" b="0" i="0" u="none" strike="noStrike" dirty="0">
                <a:highlight>
                  <a:srgbClr val="000000">
                    <a:alpha val="0"/>
                  </a:srgbClr>
                </a:highlight>
                <a:latin typeface="Simsun"/>
                <a:ea typeface="Simsun"/>
              </a:rPr>
              <a:t>联合</a:t>
            </a:r>
            <a:r>
              <a:rPr lang="zh-Hans" sz="3200" b="0" i="0" u="none" strike="noStrike" dirty="0">
                <a:highlight>
                  <a:srgbClr val="000000">
                    <a:alpha val="0"/>
                  </a:srgbClr>
                </a:highlight>
                <a:latin typeface="Simsun"/>
                <a:ea typeface="Simsun"/>
              </a:rPr>
              <a:t>外部评价（JEE）</a:t>
            </a:r>
          </a:p>
        </p:txBody>
      </p:sp>
      <p:sp>
        <p:nvSpPr>
          <p:cNvPr id="3" name="Content Placeholder 2">
            <a:extLst>
              <a:ext uri="{FF2B5EF4-FFF2-40B4-BE49-F238E27FC236}">
                <a16:creationId xmlns:a16="http://schemas.microsoft.com/office/drawing/2014/main" id="{A3C55E09-ECD5-4E9A-A2D4-9CAF0FD8FEEF}"/>
              </a:ext>
            </a:extLst>
          </p:cNvPr>
          <p:cNvSpPr>
            <a:spLocks noGrp="1"/>
          </p:cNvSpPr>
          <p:nvPr>
            <p:ph idx="1"/>
          </p:nvPr>
        </p:nvSpPr>
        <p:spPr>
          <a:xfrm>
            <a:off x="457200" y="1663337"/>
            <a:ext cx="7048123" cy="3884295"/>
          </a:xfrm>
        </p:spPr>
        <p:txBody>
          <a:bodyPr>
            <a:noAutofit/>
          </a:bodyPr>
          <a:lstStyle/>
          <a:p>
            <a:pPr marL="0" indent="0" rtl="0">
              <a:buNone/>
            </a:pPr>
            <a:r>
              <a:rPr lang="zh-Hans" sz="2400" b="1" i="0" u="none" strike="noStrike" dirty="0">
                <a:highlight>
                  <a:srgbClr val="000000">
                    <a:alpha val="0"/>
                  </a:srgbClr>
                </a:highlight>
                <a:latin typeface="Simsun"/>
                <a:ea typeface="Simsun"/>
              </a:rPr>
              <a:t>目的</a:t>
            </a:r>
            <a:endParaRPr lang="zh-Hans" sz="2400" b="0" i="0" u="none" strike="noStrike" dirty="0">
              <a:highlight>
                <a:srgbClr val="000000">
                  <a:alpha val="0"/>
                </a:srgbClr>
              </a:highlight>
              <a:latin typeface="Simsun"/>
              <a:ea typeface="Simsun"/>
            </a:endParaRPr>
          </a:p>
          <a:p>
            <a:pPr rtl="0"/>
            <a:r>
              <a:rPr lang="zh-Hans" sz="2400" b="0" i="0" u="none" strike="noStrike" dirty="0">
                <a:highlight>
                  <a:srgbClr val="000000">
                    <a:alpha val="0"/>
                  </a:srgbClr>
                </a:highlight>
                <a:latin typeface="Simsun"/>
                <a:ea typeface="Simsun"/>
              </a:rPr>
              <a:t>评估国家目前预防、发现和快速应对公共卫生威胁的能力</a:t>
            </a:r>
          </a:p>
          <a:p>
            <a:pPr rtl="0"/>
            <a:r>
              <a:rPr lang="zh-Hans" sz="2400" b="0" i="0" u="none" strike="noStrike" dirty="0">
                <a:highlight>
                  <a:srgbClr val="000000">
                    <a:alpha val="0"/>
                  </a:srgbClr>
                </a:highlight>
                <a:latin typeface="Simsun"/>
                <a:ea typeface="Simsun"/>
              </a:rPr>
              <a:t>识别卫生</a:t>
            </a:r>
            <a:r>
              <a:rPr lang="zh-CN" altLang="en-US" sz="2400" dirty="0">
                <a:highlight>
                  <a:srgbClr val="000000">
                    <a:alpha val="0"/>
                  </a:srgbClr>
                </a:highlight>
                <a:latin typeface="Simsun"/>
                <a:ea typeface="Simsun"/>
              </a:rPr>
              <a:t>突发事件</a:t>
            </a:r>
            <a:r>
              <a:rPr lang="zh-Hans" sz="2400" b="0" i="0" u="none" strike="noStrike" dirty="0">
                <a:highlight>
                  <a:srgbClr val="000000">
                    <a:alpha val="0"/>
                  </a:srgbClr>
                </a:highlight>
                <a:latin typeface="Simsun"/>
                <a:ea typeface="Simsun"/>
              </a:rPr>
              <a:t>准备系统的优势和劣势</a:t>
            </a:r>
          </a:p>
          <a:p>
            <a:pPr rtl="0"/>
            <a:r>
              <a:rPr lang="zh-Hans" sz="2400" b="0" i="0" u="none" strike="noStrike" dirty="0">
                <a:highlight>
                  <a:srgbClr val="000000">
                    <a:alpha val="0"/>
                  </a:srgbClr>
                </a:highlight>
                <a:latin typeface="Simsun"/>
                <a:ea typeface="Simsun"/>
              </a:rPr>
              <a:t>识别最紧迫的需求并优先实施战略行动，以加强卫生</a:t>
            </a:r>
            <a:r>
              <a:rPr lang="zh-CN" altLang="en-US" sz="2400" dirty="0">
                <a:highlight>
                  <a:srgbClr val="000000">
                    <a:alpha val="0"/>
                  </a:srgbClr>
                </a:highlight>
                <a:latin typeface="Simsun"/>
                <a:ea typeface="Simsun"/>
              </a:rPr>
              <a:t>突发事件</a:t>
            </a:r>
            <a:r>
              <a:rPr lang="zh-Hans" sz="2400" b="0" i="0" u="none" strike="noStrike" dirty="0">
                <a:highlight>
                  <a:srgbClr val="000000">
                    <a:alpha val="0"/>
                  </a:srgbClr>
                </a:highlight>
                <a:latin typeface="Simsun"/>
                <a:ea typeface="Simsun"/>
              </a:rPr>
              <a:t>准备能力。</a:t>
            </a:r>
          </a:p>
          <a:p>
            <a:pPr marL="0" indent="0">
              <a:buNone/>
            </a:pPr>
            <a:endParaRPr lang="en-US" sz="2400" dirty="0"/>
          </a:p>
          <a:p>
            <a:pPr marL="0" indent="0" rtl="0">
              <a:buNone/>
            </a:pPr>
            <a:r>
              <a:rPr lang="zh-Hans" sz="2400" b="1" i="0" u="none" strike="noStrike" dirty="0">
                <a:highlight>
                  <a:srgbClr val="000000">
                    <a:alpha val="0"/>
                  </a:srgbClr>
                </a:highlight>
                <a:latin typeface="Simsun"/>
                <a:ea typeface="Simsun"/>
              </a:rPr>
              <a:t>成果</a:t>
            </a:r>
          </a:p>
          <a:p>
            <a:pPr rtl="0">
              <a:lnSpc>
                <a:spcPct val="150000"/>
              </a:lnSpc>
            </a:pPr>
            <a:r>
              <a:rPr lang="zh-Hans" sz="2400" b="0" i="0" u="none" strike="noStrike" dirty="0">
                <a:highlight>
                  <a:srgbClr val="000000">
                    <a:alpha val="0"/>
                  </a:srgbClr>
                </a:highlight>
                <a:latin typeface="Simsun"/>
                <a:ea typeface="Simsun"/>
              </a:rPr>
              <a:t>JEE报告中包括最终评分和解决能力</a:t>
            </a:r>
            <a:r>
              <a:rPr lang="zh-CN" altLang="en-US" sz="2400" dirty="0">
                <a:highlight>
                  <a:srgbClr val="000000">
                    <a:alpha val="0"/>
                  </a:srgbClr>
                </a:highlight>
                <a:latin typeface="Simsun"/>
                <a:ea typeface="Simsun"/>
              </a:rPr>
              <a:t>缺口</a:t>
            </a:r>
            <a:r>
              <a:rPr lang="zh-Hans" sz="2400" b="0" i="0" u="none" strike="noStrike" dirty="0">
                <a:highlight>
                  <a:srgbClr val="000000">
                    <a:alpha val="0"/>
                  </a:srgbClr>
                </a:highlight>
                <a:latin typeface="Simsun"/>
                <a:ea typeface="Simsun"/>
              </a:rPr>
              <a:t>的优先行动建议</a:t>
            </a:r>
          </a:p>
          <a:p>
            <a:endParaRPr lang="en-US" sz="2400" dirty="0"/>
          </a:p>
          <a:p>
            <a:endParaRPr lang="en-US" dirty="0"/>
          </a:p>
        </p:txBody>
      </p:sp>
      <p:sp>
        <p:nvSpPr>
          <p:cNvPr id="4" name="Footer Placeholder 3">
            <a:extLst>
              <a:ext uri="{FF2B5EF4-FFF2-40B4-BE49-F238E27FC236}">
                <a16:creationId xmlns:a16="http://schemas.microsoft.com/office/drawing/2014/main" id="{11DA279A-6D0D-4465-B85A-11024D963B33}"/>
              </a:ext>
            </a:extLst>
          </p:cNvPr>
          <p:cNvSpPr>
            <a:spLocks noGrp="1"/>
          </p:cNvSpPr>
          <p:nvPr>
            <p:ph type="ftr" sz="quarter" idx="11"/>
          </p:nvPr>
        </p:nvSpPr>
        <p:spPr/>
        <p:txBody>
          <a:bodyPr>
            <a:noAutofit/>
          </a:bodyPr>
          <a:lstStyle/>
          <a:p>
            <a:endParaRPr lang="en-US"/>
          </a:p>
        </p:txBody>
      </p:sp>
      <p:sp>
        <p:nvSpPr>
          <p:cNvPr id="5" name="Slide Number Placeholder 4">
            <a:extLst>
              <a:ext uri="{FF2B5EF4-FFF2-40B4-BE49-F238E27FC236}">
                <a16:creationId xmlns:a16="http://schemas.microsoft.com/office/drawing/2014/main" id="{23AA0277-27D8-4C52-9D5A-E45555350284}"/>
              </a:ext>
            </a:extLst>
          </p:cNvPr>
          <p:cNvSpPr>
            <a:spLocks noGrp="1"/>
          </p:cNvSpPr>
          <p:nvPr>
            <p:ph type="sldNum" sz="quarter" idx="12"/>
          </p:nvPr>
        </p:nvSpPr>
        <p:spPr/>
        <p:txBody>
          <a:bodyPr>
            <a:noAutofit/>
          </a:bodyPr>
          <a:lstStyle/>
          <a:p>
            <a:pPr rtl="0"/>
            <a:r>
              <a:rPr lang="zh-Hans" sz="900" b="0" i="0" u="none" strike="noStrike">
                <a:highlight>
                  <a:srgbClr val="000000">
                    <a:alpha val="0"/>
                  </a:srgbClr>
                </a:highlight>
                <a:latin typeface="Simsun"/>
                <a:ea typeface="Simsun"/>
              </a:rPr>
              <a:t>5</a:t>
            </a:r>
            <a:endParaRPr lang="en-US"/>
          </a:p>
        </p:txBody>
      </p:sp>
      <p:pic>
        <p:nvPicPr>
          <p:cNvPr id="9" name="Picture 8" descr="https://extranet.who.int/sph/sites/default/files/styles/large/public/document-library/thumbnail/JEE2.PNG?itok=rqsaZbkI">
            <a:extLst>
              <a:ext uri="{FF2B5EF4-FFF2-40B4-BE49-F238E27FC236}">
                <a16:creationId xmlns:a16="http://schemas.microsoft.com/office/drawing/2014/main" id="{0C0B2077-DAF4-4A33-A4AF-2A7E5ACFCA6F}"/>
              </a:ext>
            </a:extLst>
          </p:cNvPr>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8062967" y="1224264"/>
            <a:ext cx="3114188" cy="440947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98186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Map&#10;&#10;Description automatically generated">
            <a:extLst>
              <a:ext uri="{FF2B5EF4-FFF2-40B4-BE49-F238E27FC236}">
                <a16:creationId xmlns:a16="http://schemas.microsoft.com/office/drawing/2014/main" id="{3C5442E3-1B22-433F-8137-96155BD65571}"/>
              </a:ext>
            </a:extLst>
          </p:cNvPr>
          <p:cNvPicPr>
            <a:picLocks noGrp="1" noChangeAspect="1"/>
          </p:cNvPicPr>
          <p:nvPr>
            <p:ph idx="1"/>
          </p:nvPr>
        </p:nvPicPr>
        <p:blipFill>
          <a:blip r:embed="rId2"/>
          <a:stretch>
            <a:fillRect/>
          </a:stretch>
        </p:blipFill>
        <p:spPr>
          <a:xfrm>
            <a:off x="8304979" y="1327942"/>
            <a:ext cx="3278240" cy="46335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Footer Placeholder 3">
            <a:extLst>
              <a:ext uri="{FF2B5EF4-FFF2-40B4-BE49-F238E27FC236}">
                <a16:creationId xmlns:a16="http://schemas.microsoft.com/office/drawing/2014/main" id="{84513068-F5C5-431B-944A-03A94C2C1953}"/>
              </a:ext>
            </a:extLst>
          </p:cNvPr>
          <p:cNvSpPr>
            <a:spLocks noGrp="1"/>
          </p:cNvSpPr>
          <p:nvPr>
            <p:ph type="ftr" sz="quarter" idx="11"/>
          </p:nvPr>
        </p:nvSpPr>
        <p:spPr>
          <a:xfrm>
            <a:off x="4038600" y="6356350"/>
            <a:ext cx="4114800" cy="365125"/>
          </a:xfrm>
        </p:spPr>
        <p:txBody>
          <a:bodyPr vert="horz" lIns="91440" tIns="45720" rIns="91440" bIns="45720" rtlCol="0" anchor="ctr">
            <a:noAutofit/>
          </a:bodyPr>
          <a:lstStyle/>
          <a:p>
            <a:pPr algn="ctr"/>
            <a:endParaRPr lang="en-US" sz="1200" kern="1200">
              <a:solidFill>
                <a:schemeClr val="tx1">
                  <a:tint val="75000"/>
                </a:schemeClr>
              </a:solidFill>
              <a:latin typeface="+mn-lt"/>
              <a:ea typeface="+mn-ea"/>
              <a:cs typeface="+mn-cs"/>
            </a:endParaRPr>
          </a:p>
        </p:txBody>
      </p:sp>
      <p:sp>
        <p:nvSpPr>
          <p:cNvPr id="5" name="Slide Number Placeholder 4">
            <a:extLst>
              <a:ext uri="{FF2B5EF4-FFF2-40B4-BE49-F238E27FC236}">
                <a16:creationId xmlns:a16="http://schemas.microsoft.com/office/drawing/2014/main" id="{B1C5FA2F-8011-4F94-AB79-E817D10B7ECD}"/>
              </a:ext>
            </a:extLst>
          </p:cNvPr>
          <p:cNvSpPr>
            <a:spLocks noGrp="1"/>
          </p:cNvSpPr>
          <p:nvPr>
            <p:ph type="sldNum" sz="quarter" idx="12"/>
          </p:nvPr>
        </p:nvSpPr>
        <p:spPr>
          <a:xfrm>
            <a:off x="8610600" y="6356350"/>
            <a:ext cx="2743200" cy="365125"/>
          </a:xfrm>
        </p:spPr>
        <p:txBody>
          <a:bodyPr vert="horz" lIns="91440" tIns="45720" rIns="91440" bIns="45720" rtlCol="0" anchor="ctr">
            <a:noAutofit/>
          </a:bodyPr>
          <a:lstStyle/>
          <a:p>
            <a:pPr rtl="0">
              <a:spcAft>
                <a:spcPts val="600"/>
              </a:spcAft>
            </a:pPr>
            <a:r>
              <a:rPr lang="zh-Hans" sz="1200" b="0" i="0" u="none" strike="noStrike" dirty="0">
                <a:solidFill>
                  <a:srgbClr val="898989"/>
                </a:solidFill>
                <a:highlight>
                  <a:srgbClr val="000000">
                    <a:alpha val="0"/>
                  </a:srgbClr>
                </a:highlight>
                <a:latin typeface="Simsun"/>
                <a:ea typeface="Simsun"/>
              </a:rPr>
              <a:t>6</a:t>
            </a:r>
            <a:endParaRPr lang="en-US" sz="1200" dirty="0">
              <a:solidFill>
                <a:schemeClr val="tx1">
                  <a:tint val="75000"/>
                </a:schemeClr>
              </a:solidFill>
            </a:endParaRPr>
          </a:p>
        </p:txBody>
      </p:sp>
      <p:graphicFrame>
        <p:nvGraphicFramePr>
          <p:cNvPr id="8" name="Google Shape;261;gf359c45cf6_0_644">
            <a:extLst>
              <a:ext uri="{FF2B5EF4-FFF2-40B4-BE49-F238E27FC236}">
                <a16:creationId xmlns:a16="http://schemas.microsoft.com/office/drawing/2014/main" id="{ED79B3B9-0CCC-4082-997C-293D8608D832}"/>
              </a:ext>
            </a:extLst>
          </p:cNvPr>
          <p:cNvGraphicFramePr>
            <a:graphicFrameLocks noGrp="1"/>
          </p:cNvGraphicFramePr>
          <p:nvPr>
            <p:extLst>
              <p:ext uri="{D42A27DB-BD31-4B8C-83A1-F6EECF244321}">
                <p14:modId xmlns:p14="http://schemas.microsoft.com/office/powerpoint/2010/main" val="2103525747"/>
              </p:ext>
            </p:extLst>
          </p:nvPr>
        </p:nvGraphicFramePr>
        <p:xfrm>
          <a:off x="608781" y="1599004"/>
          <a:ext cx="7393039" cy="2814745"/>
        </p:xfrm>
        <a:graphic>
          <a:graphicData uri="http://schemas.openxmlformats.org/drawingml/2006/table">
            <a:tbl>
              <a:tblPr firstRow="1" firstCol="1" bandRow="1">
                <a:noFill/>
              </a:tblPr>
              <a:tblGrid>
                <a:gridCol w="2225218">
                  <a:extLst>
                    <a:ext uri="{9D8B030D-6E8A-4147-A177-3AD203B41FA5}">
                      <a16:colId xmlns:a16="http://schemas.microsoft.com/office/drawing/2014/main" val="20001"/>
                    </a:ext>
                  </a:extLst>
                </a:gridCol>
                <a:gridCol w="1593619">
                  <a:extLst>
                    <a:ext uri="{9D8B030D-6E8A-4147-A177-3AD203B41FA5}">
                      <a16:colId xmlns:a16="http://schemas.microsoft.com/office/drawing/2014/main" val="20002"/>
                    </a:ext>
                  </a:extLst>
                </a:gridCol>
                <a:gridCol w="1912641">
                  <a:extLst>
                    <a:ext uri="{9D8B030D-6E8A-4147-A177-3AD203B41FA5}">
                      <a16:colId xmlns:a16="http://schemas.microsoft.com/office/drawing/2014/main" val="20003"/>
                    </a:ext>
                  </a:extLst>
                </a:gridCol>
                <a:gridCol w="1661561">
                  <a:extLst>
                    <a:ext uri="{9D8B030D-6E8A-4147-A177-3AD203B41FA5}">
                      <a16:colId xmlns:a16="http://schemas.microsoft.com/office/drawing/2014/main" val="20004"/>
                    </a:ext>
                  </a:extLst>
                </a:gridCol>
              </a:tblGrid>
              <a:tr h="300145">
                <a:tc>
                  <a:txBody>
                    <a:bodyPr/>
                    <a:lstStyle/>
                    <a:p>
                      <a:pPr marL="0" marR="0" lvl="0" indent="0" algn="ctr" rtl="0">
                        <a:lnSpc>
                          <a:spcPct val="100000"/>
                        </a:lnSpc>
                        <a:spcBef>
                          <a:spcPct val="0"/>
                        </a:spcBef>
                        <a:spcAft>
                          <a:spcPct val="0"/>
                        </a:spcAft>
                        <a:buClr>
                          <a:srgbClr val="000000"/>
                        </a:buClr>
                        <a:buSzPts val="1800"/>
                        <a:buFont typeface="Calibri" panose="020F0502020204030204"/>
                        <a:buNone/>
                      </a:pPr>
                      <a:r>
                        <a:rPr lang="zh-Hans" sz="1400" b="1" i="0" u="none" strike="noStrike" cap="none">
                          <a:solidFill>
                            <a:srgbClr val="C7470D"/>
                          </a:solidFill>
                          <a:highlight>
                            <a:srgbClr val="000000">
                              <a:alpha val="0"/>
                            </a:srgbClr>
                          </a:highlight>
                          <a:latin typeface="Simsun"/>
                          <a:ea typeface="Simsun"/>
                          <a:cs typeface="Calibri"/>
                          <a:sym typeface="Calibri"/>
                        </a:rPr>
                        <a:t>防范</a:t>
                      </a:r>
                      <a:endParaRPr sz="1000" u="none" strike="noStrike" cap="none">
                        <a:solidFill>
                          <a:schemeClr val="accent2">
                            <a:lumMod val="75000"/>
                          </a:schemeClr>
                        </a:solidFill>
                      </a:endParaRPr>
                    </a:p>
                  </a:txBody>
                  <a:tcPr marL="56152" marR="56152" marT="0" marB="0" anchor="ctr">
                    <a:solidFill>
                      <a:srgbClr val="BBD6EE"/>
                    </a:solidFill>
                  </a:tcPr>
                </a:tc>
                <a:tc>
                  <a:txBody>
                    <a:bodyPr/>
                    <a:lstStyle/>
                    <a:p>
                      <a:pPr marL="0" marR="0" lvl="0" indent="0" algn="ctr" rtl="0">
                        <a:lnSpc>
                          <a:spcPct val="100000"/>
                        </a:lnSpc>
                        <a:spcBef>
                          <a:spcPct val="0"/>
                        </a:spcBef>
                        <a:spcAft>
                          <a:spcPct val="0"/>
                        </a:spcAft>
                        <a:buClr>
                          <a:srgbClr val="000000"/>
                        </a:buClr>
                        <a:buSzPts val="1800"/>
                        <a:buFont typeface="Arial"/>
                        <a:buNone/>
                      </a:pPr>
                      <a:r>
                        <a:rPr lang="zh-Hans" sz="1400" b="1" i="0" u="none" strike="noStrike" cap="none">
                          <a:solidFill>
                            <a:srgbClr val="002060"/>
                          </a:solidFill>
                          <a:highlight>
                            <a:srgbClr val="000000">
                              <a:alpha val="0"/>
                            </a:srgbClr>
                          </a:highlight>
                          <a:latin typeface="Simsun"/>
                          <a:ea typeface="Simsun"/>
                        </a:rPr>
                        <a:t>发现</a:t>
                      </a:r>
                      <a:endParaRPr sz="1400" b="1" u="none" strike="noStrike" cap="none">
                        <a:solidFill>
                          <a:srgbClr val="002060"/>
                        </a:solidFill>
                        <a:latin typeface="Calibri"/>
                        <a:ea typeface="Calibri"/>
                        <a:cs typeface="Calibri"/>
                        <a:sym typeface="Calibri"/>
                      </a:endParaRPr>
                    </a:p>
                  </a:txBody>
                  <a:tcPr marL="56152" marR="56152" marT="0" marB="0" anchor="ctr">
                    <a:solidFill>
                      <a:srgbClr val="BBD6EE"/>
                    </a:solidFill>
                  </a:tcPr>
                </a:tc>
                <a:tc>
                  <a:txBody>
                    <a:bodyPr/>
                    <a:lstStyle/>
                    <a:p>
                      <a:pPr marL="0" marR="0" lvl="0" indent="0" algn="ctr" rtl="0">
                        <a:lnSpc>
                          <a:spcPct val="100000"/>
                        </a:lnSpc>
                        <a:spcBef>
                          <a:spcPct val="0"/>
                        </a:spcBef>
                        <a:spcAft>
                          <a:spcPct val="0"/>
                        </a:spcAft>
                        <a:buClr>
                          <a:srgbClr val="000000"/>
                        </a:buClr>
                        <a:buSzPts val="1800"/>
                        <a:buFont typeface="Arial"/>
                        <a:buNone/>
                      </a:pPr>
                      <a:r>
                        <a:rPr lang="zh-Hans" sz="1400" b="1" i="0" u="none" strike="noStrike" cap="none">
                          <a:solidFill>
                            <a:srgbClr val="0070C0"/>
                          </a:solidFill>
                          <a:highlight>
                            <a:srgbClr val="000000">
                              <a:alpha val="0"/>
                            </a:srgbClr>
                          </a:highlight>
                          <a:latin typeface="Simsun"/>
                          <a:ea typeface="Simsun"/>
                        </a:rPr>
                        <a:t>应对</a:t>
                      </a:r>
                      <a:endParaRPr sz="1400" b="1" u="none" strike="noStrike" cap="none">
                        <a:solidFill>
                          <a:srgbClr val="0070C0"/>
                        </a:solidFill>
                        <a:latin typeface="Calibri"/>
                        <a:ea typeface="Calibri"/>
                        <a:cs typeface="Calibri"/>
                        <a:sym typeface="Calibri"/>
                      </a:endParaRPr>
                    </a:p>
                  </a:txBody>
                  <a:tcPr marL="56152" marR="56152" marT="0" marB="0" anchor="ctr">
                    <a:solidFill>
                      <a:srgbClr val="BBD6EE"/>
                    </a:solidFill>
                  </a:tcPr>
                </a:tc>
                <a:tc>
                  <a:txBody>
                    <a:bodyPr/>
                    <a:lstStyle/>
                    <a:p>
                      <a:pPr marL="0" marR="0" lvl="0" indent="0" algn="ctr" rtl="0">
                        <a:lnSpc>
                          <a:spcPct val="100000"/>
                        </a:lnSpc>
                        <a:spcBef>
                          <a:spcPct val="0"/>
                        </a:spcBef>
                        <a:spcAft>
                          <a:spcPct val="0"/>
                        </a:spcAft>
                        <a:buClr>
                          <a:srgbClr val="000000"/>
                        </a:buClr>
                        <a:buSzPts val="1800"/>
                        <a:buFont typeface="Arial"/>
                        <a:buNone/>
                      </a:pPr>
                      <a:r>
                        <a:rPr lang="zh-Hans" sz="1400" b="1" i="0" u="none" strike="noStrike" cap="none">
                          <a:solidFill>
                            <a:srgbClr val="009999"/>
                          </a:solidFill>
                          <a:highlight>
                            <a:srgbClr val="000000">
                              <a:alpha val="0"/>
                            </a:srgbClr>
                          </a:highlight>
                          <a:latin typeface="Simsun"/>
                          <a:ea typeface="Simsun"/>
                        </a:rPr>
                        <a:t>IHR和PoE</a:t>
                      </a:r>
                      <a:endParaRPr sz="1400" b="1" u="none" strike="noStrike" cap="none">
                        <a:solidFill>
                          <a:srgbClr val="009999"/>
                        </a:solidFill>
                        <a:latin typeface="Calibri"/>
                        <a:ea typeface="Calibri"/>
                        <a:cs typeface="Calibri"/>
                        <a:sym typeface="Calibri"/>
                      </a:endParaRPr>
                    </a:p>
                  </a:txBody>
                  <a:tcPr marL="56152" marR="56152" marT="0" marB="0" anchor="ctr">
                    <a:solidFill>
                      <a:srgbClr val="BBD6EE"/>
                    </a:solidFill>
                  </a:tcPr>
                </a:tc>
                <a:extLst>
                  <a:ext uri="{0D108BD9-81ED-4DB2-BD59-A6C34878D82A}">
                    <a16:rowId xmlns:a16="http://schemas.microsoft.com/office/drawing/2014/main" val="10000"/>
                  </a:ext>
                </a:extLst>
              </a:tr>
              <a:tr h="2358952">
                <a:tc>
                  <a:txBody>
                    <a:bodyPr/>
                    <a:lstStyle/>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dirty="0">
                          <a:solidFill>
                            <a:srgbClr val="C7470D"/>
                          </a:solidFill>
                          <a:highlight>
                            <a:srgbClr val="000000">
                              <a:alpha val="0"/>
                            </a:srgbClr>
                          </a:highlight>
                          <a:latin typeface="Simsun"/>
                          <a:ea typeface="Simsun"/>
                          <a:cs typeface="Calibri"/>
                        </a:rPr>
                        <a:t>P1.法律文书</a:t>
                      </a:r>
                    </a:p>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cap="none" dirty="0">
                          <a:solidFill>
                            <a:srgbClr val="C7470D"/>
                          </a:solidFill>
                          <a:highlight>
                            <a:srgbClr val="000000">
                              <a:alpha val="0"/>
                            </a:srgbClr>
                          </a:highlight>
                          <a:latin typeface="Simsun"/>
                          <a:ea typeface="Simsun"/>
                          <a:cs typeface="Calibri"/>
                        </a:rPr>
                        <a:t>P2.融资</a:t>
                      </a:r>
                    </a:p>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cap="none" dirty="0">
                          <a:solidFill>
                            <a:srgbClr val="C7470D"/>
                          </a:solidFill>
                          <a:highlight>
                            <a:srgbClr val="000000">
                              <a:alpha val="0"/>
                            </a:srgbClr>
                          </a:highlight>
                          <a:latin typeface="Simsun"/>
                          <a:ea typeface="Simsun"/>
                          <a:cs typeface="Calibri"/>
                        </a:rPr>
                        <a:t>P3.IHR协调，NFP</a:t>
                      </a:r>
                      <a:r>
                        <a:rPr lang="zh-CN" altLang="en-US" sz="1500" b="0" i="0" u="none" strike="noStrike" cap="none" dirty="0">
                          <a:solidFill>
                            <a:srgbClr val="C7470D"/>
                          </a:solidFill>
                          <a:highlight>
                            <a:srgbClr val="000000">
                              <a:alpha val="0"/>
                            </a:srgbClr>
                          </a:highlight>
                          <a:latin typeface="Simsun"/>
                          <a:ea typeface="Simsun"/>
                          <a:cs typeface="Calibri"/>
                        </a:rPr>
                        <a:t>功能</a:t>
                      </a:r>
                      <a:r>
                        <a:rPr lang="zh-Hans" sz="1500" b="0" i="0" u="none" strike="noStrike" cap="none" dirty="0">
                          <a:solidFill>
                            <a:srgbClr val="C7470D"/>
                          </a:solidFill>
                          <a:highlight>
                            <a:srgbClr val="000000">
                              <a:alpha val="0"/>
                            </a:srgbClr>
                          </a:highlight>
                          <a:latin typeface="Simsun"/>
                          <a:ea typeface="Simsun"/>
                          <a:cs typeface="Calibri"/>
                        </a:rPr>
                        <a:t>和宣传</a:t>
                      </a:r>
                    </a:p>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cap="none" dirty="0">
                          <a:solidFill>
                            <a:srgbClr val="C7470D"/>
                          </a:solidFill>
                          <a:highlight>
                            <a:srgbClr val="000000">
                              <a:alpha val="0"/>
                            </a:srgbClr>
                          </a:highlight>
                          <a:latin typeface="Simsun"/>
                          <a:ea typeface="Simsun"/>
                          <a:cs typeface="Calibri"/>
                        </a:rPr>
                        <a:t>P4.AMR</a:t>
                      </a:r>
                    </a:p>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cap="none" dirty="0">
                          <a:solidFill>
                            <a:srgbClr val="C7470D"/>
                          </a:solidFill>
                          <a:highlight>
                            <a:srgbClr val="000000">
                              <a:alpha val="0"/>
                            </a:srgbClr>
                          </a:highlight>
                          <a:latin typeface="Simsun"/>
                          <a:ea typeface="Simsun"/>
                          <a:cs typeface="Calibri"/>
                        </a:rPr>
                        <a:t>P5.人畜共患疾病</a:t>
                      </a:r>
                    </a:p>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cap="none" dirty="0">
                          <a:solidFill>
                            <a:srgbClr val="C7470D"/>
                          </a:solidFill>
                          <a:highlight>
                            <a:srgbClr val="000000">
                              <a:alpha val="0"/>
                            </a:srgbClr>
                          </a:highlight>
                          <a:latin typeface="Simsun"/>
                          <a:ea typeface="Simsun"/>
                          <a:cs typeface="Calibri"/>
                        </a:rPr>
                        <a:t>P6.食品安全</a:t>
                      </a:r>
                    </a:p>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cap="none" dirty="0">
                          <a:solidFill>
                            <a:srgbClr val="C7470D"/>
                          </a:solidFill>
                          <a:highlight>
                            <a:srgbClr val="000000">
                              <a:alpha val="0"/>
                            </a:srgbClr>
                          </a:highlight>
                          <a:latin typeface="Simsun"/>
                          <a:ea typeface="Simsun"/>
                          <a:cs typeface="Calibri"/>
                        </a:rPr>
                        <a:t>P7.生物安全和生物安保</a:t>
                      </a:r>
                    </a:p>
                    <a:p>
                      <a:pPr marL="0" marR="0" lvl="0" indent="0" algn="l" defTabSz="914400" rtl="0" eaLnBrk="1" fontAlgn="auto" latinLnBrk="0" hangingPunct="1">
                        <a:lnSpc>
                          <a:spcPct val="100000"/>
                        </a:lnSpc>
                        <a:spcBef>
                          <a:spcPct val="0"/>
                        </a:spcBef>
                        <a:spcAft>
                          <a:spcPct val="0"/>
                        </a:spcAft>
                        <a:buClrTx/>
                        <a:buSzPts val="1800"/>
                        <a:buFont typeface="Calibri" panose="020F0502020204030204"/>
                        <a:buNone/>
                        <a:defRPr/>
                      </a:pPr>
                      <a:r>
                        <a:rPr lang="zh-Hans" sz="1500" b="0" i="0" u="none" strike="noStrike" cap="none" dirty="0">
                          <a:solidFill>
                            <a:srgbClr val="C7470D"/>
                          </a:solidFill>
                          <a:highlight>
                            <a:srgbClr val="000000">
                              <a:alpha val="0"/>
                            </a:srgbClr>
                          </a:highlight>
                          <a:latin typeface="Simsun"/>
                          <a:ea typeface="Simsun"/>
                          <a:cs typeface="Calibri"/>
                        </a:rPr>
                        <a:t>P8.免疫接种</a:t>
                      </a:r>
                      <a:endParaRPr sz="1500" b="0" u="none" strike="noStrike" cap="none" dirty="0">
                        <a:solidFill>
                          <a:schemeClr val="accent2">
                            <a:lumMod val="75000"/>
                          </a:schemeClr>
                        </a:solidFill>
                        <a:latin typeface="Calibri" panose="020F0502020204030204" pitchFamily="34" charset="0"/>
                        <a:cs typeface="Calibri" panose="020F0502020204030204" pitchFamily="34" charset="0"/>
                      </a:endParaRPr>
                    </a:p>
                  </a:txBody>
                  <a:tcPr marL="56152" marR="56152" marT="0" marB="0"/>
                </a:tc>
                <a:tc>
                  <a:txBody>
                    <a:bodyPr/>
                    <a:lstStyle/>
                    <a:p>
                      <a:pPr marL="0" marR="0" lvl="0" indent="0" algn="l" rtl="0">
                        <a:lnSpc>
                          <a:spcPct val="100000"/>
                        </a:lnSpc>
                        <a:spcBef>
                          <a:spcPct val="0"/>
                        </a:spcBef>
                        <a:spcAft>
                          <a:spcPct val="0"/>
                        </a:spcAft>
                        <a:buClr>
                          <a:srgbClr val="008000"/>
                        </a:buClr>
                        <a:buSzPts val="1800"/>
                        <a:buFont typeface="Calibri" panose="020F0502020204030204"/>
                        <a:buNone/>
                      </a:pPr>
                      <a:r>
                        <a:rPr lang="zh-Hans" sz="1500" b="0" i="0" u="none" strike="noStrike" cap="none" dirty="0">
                          <a:solidFill>
                            <a:srgbClr val="002060"/>
                          </a:solidFill>
                          <a:highlight>
                            <a:srgbClr val="000000">
                              <a:alpha val="0"/>
                            </a:srgbClr>
                          </a:highlight>
                          <a:latin typeface="Simsun"/>
                          <a:ea typeface="Simsun"/>
                          <a:cs typeface="Calibri"/>
                        </a:rPr>
                        <a:t>D1.国家性实验室</a:t>
                      </a:r>
                    </a:p>
                    <a:p>
                      <a:pPr marL="0" marR="0" lvl="0" indent="0" algn="l" rtl="0">
                        <a:lnSpc>
                          <a:spcPct val="100000"/>
                        </a:lnSpc>
                        <a:spcBef>
                          <a:spcPct val="0"/>
                        </a:spcBef>
                        <a:spcAft>
                          <a:spcPct val="0"/>
                        </a:spcAft>
                        <a:buClr>
                          <a:srgbClr val="008000"/>
                        </a:buClr>
                        <a:buSzPts val="1800"/>
                        <a:buFont typeface="Calibri" panose="020F0502020204030204"/>
                        <a:buNone/>
                      </a:pPr>
                      <a:r>
                        <a:rPr lang="zh-Hans" sz="1500" b="0" i="0" u="none" strike="noStrike" cap="none" dirty="0">
                          <a:solidFill>
                            <a:srgbClr val="002060"/>
                          </a:solidFill>
                          <a:highlight>
                            <a:srgbClr val="000000">
                              <a:alpha val="0"/>
                            </a:srgbClr>
                          </a:highlight>
                          <a:latin typeface="Simsun"/>
                          <a:ea typeface="Simsun"/>
                          <a:cs typeface="Calibri"/>
                        </a:rPr>
                        <a:t>系统</a:t>
                      </a:r>
                    </a:p>
                    <a:p>
                      <a:pPr marL="0" marR="0" lvl="0" indent="0" algn="l" rtl="0">
                        <a:lnSpc>
                          <a:spcPct val="100000"/>
                        </a:lnSpc>
                        <a:spcBef>
                          <a:spcPct val="0"/>
                        </a:spcBef>
                        <a:spcAft>
                          <a:spcPct val="0"/>
                        </a:spcAft>
                        <a:buClr>
                          <a:srgbClr val="008000"/>
                        </a:buClr>
                        <a:buSzPts val="1800"/>
                        <a:buFont typeface="Calibri" panose="020F0502020204030204"/>
                        <a:buNone/>
                      </a:pPr>
                      <a:r>
                        <a:rPr lang="zh-Hans" sz="1500" b="0" i="0" u="none" strike="noStrike" cap="none" dirty="0">
                          <a:solidFill>
                            <a:srgbClr val="002060"/>
                          </a:solidFill>
                          <a:highlight>
                            <a:srgbClr val="000000">
                              <a:alpha val="0"/>
                            </a:srgbClr>
                          </a:highlight>
                          <a:latin typeface="Simsun"/>
                          <a:ea typeface="Simsun"/>
                          <a:cs typeface="Calibri"/>
                        </a:rPr>
                        <a:t>D2.监测</a:t>
                      </a:r>
                    </a:p>
                    <a:p>
                      <a:pPr marL="0" marR="0" lvl="0" indent="0" algn="l" rtl="0">
                        <a:lnSpc>
                          <a:spcPct val="100000"/>
                        </a:lnSpc>
                        <a:spcBef>
                          <a:spcPct val="0"/>
                        </a:spcBef>
                        <a:spcAft>
                          <a:spcPct val="0"/>
                        </a:spcAft>
                        <a:buClr>
                          <a:srgbClr val="008000"/>
                        </a:buClr>
                        <a:buSzPts val="1800"/>
                        <a:buFont typeface="Calibri" panose="020F0502020204030204"/>
                        <a:buNone/>
                      </a:pPr>
                      <a:r>
                        <a:rPr lang="zh-Hans" sz="1500" b="0" i="0" u="none" strike="noStrike" cap="none" dirty="0">
                          <a:solidFill>
                            <a:srgbClr val="002060"/>
                          </a:solidFill>
                          <a:highlight>
                            <a:srgbClr val="000000">
                              <a:alpha val="0"/>
                            </a:srgbClr>
                          </a:highlight>
                          <a:latin typeface="Simsun"/>
                          <a:ea typeface="Simsun"/>
                          <a:cs typeface="Calibri"/>
                        </a:rPr>
                        <a:t>D3.人力资源</a:t>
                      </a:r>
                    </a:p>
                    <a:p>
                      <a:pPr marL="0" marR="0" lvl="0" indent="0" algn="l" rtl="0">
                        <a:lnSpc>
                          <a:spcPct val="100000"/>
                        </a:lnSpc>
                        <a:spcBef>
                          <a:spcPct val="0"/>
                        </a:spcBef>
                        <a:spcAft>
                          <a:spcPct val="0"/>
                        </a:spcAft>
                        <a:buClr>
                          <a:srgbClr val="008000"/>
                        </a:buClr>
                        <a:buSzPts val="1800"/>
                        <a:buFont typeface="Calibri" panose="020F0502020204030204"/>
                        <a:buNone/>
                      </a:pPr>
                      <a:endParaRPr sz="1500" b="0" u="none" strike="noStrike" cap="none" dirty="0">
                        <a:solidFill>
                          <a:srgbClr val="002060"/>
                        </a:solidFill>
                        <a:latin typeface="Calibri" panose="020F0502020204030204" pitchFamily="34" charset="0"/>
                        <a:cs typeface="Calibri" panose="020F0502020204030204" pitchFamily="34" charset="0"/>
                      </a:endParaRPr>
                    </a:p>
                  </a:txBody>
                  <a:tcPr marL="56152" marR="56152" marT="0" marB="0"/>
                </a:tc>
                <a:tc>
                  <a:txBody>
                    <a:bodyPr/>
                    <a:lstStyle/>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R1.卫生紧急情况</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管理</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R2.将公共卫生联系起来</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和安全</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当局</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R3.卫生服务</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提供</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R4.IPC</a:t>
                      </a:r>
                    </a:p>
                    <a:p>
                      <a:pPr marL="0" marR="0" lvl="0" indent="0" algn="l" rtl="0">
                        <a:lnSpc>
                          <a:spcPct val="100000"/>
                        </a:lnSpc>
                        <a:spcBef>
                          <a:spcPct val="0"/>
                        </a:spcBef>
                        <a:spcAft>
                          <a:spcPct val="0"/>
                        </a:spcAft>
                        <a:buClr>
                          <a:srgbClr val="FF0000"/>
                        </a:buClr>
                        <a:buSzPts val="1800"/>
                        <a:buFont typeface="Calibri" panose="020F0502020204030204"/>
                        <a:buNone/>
                      </a:pPr>
                      <a:r>
                        <a:rPr lang="zh-Hans" sz="1500" b="0" i="0" u="none" strike="noStrike" cap="none">
                          <a:solidFill>
                            <a:srgbClr val="0070C0"/>
                          </a:solidFill>
                          <a:highlight>
                            <a:srgbClr val="000000">
                              <a:alpha val="0"/>
                            </a:srgbClr>
                          </a:highlight>
                          <a:latin typeface="Simsun"/>
                          <a:ea typeface="Simsun"/>
                          <a:cs typeface="Calibri"/>
                        </a:rPr>
                        <a:t>R5.RCCE</a:t>
                      </a:r>
                    </a:p>
                    <a:p>
                      <a:pPr marL="0" marR="0" lvl="0" indent="0" algn="l" rtl="0">
                        <a:lnSpc>
                          <a:spcPct val="100000"/>
                        </a:lnSpc>
                        <a:spcBef>
                          <a:spcPct val="0"/>
                        </a:spcBef>
                        <a:spcAft>
                          <a:spcPct val="0"/>
                        </a:spcAft>
                        <a:buClr>
                          <a:srgbClr val="FF0000"/>
                        </a:buClr>
                        <a:buSzPts val="1800"/>
                        <a:buFont typeface="Calibri" panose="020F0502020204030204"/>
                        <a:buNone/>
                      </a:pPr>
                      <a:endParaRPr sz="1500" u="none" strike="noStrike" cap="none">
                        <a:solidFill>
                          <a:srgbClr val="0070C0"/>
                        </a:solidFill>
                        <a:latin typeface="Calibri" panose="020F0502020204030204" pitchFamily="34" charset="0"/>
                        <a:cs typeface="Calibri" panose="020F0502020204030204" pitchFamily="34" charset="0"/>
                      </a:endParaRPr>
                    </a:p>
                  </a:txBody>
                  <a:tcPr marL="56152" marR="56152" marT="0" marB="0"/>
                </a:tc>
                <a:tc>
                  <a:txBody>
                    <a:bodyPr/>
                    <a:lstStyle/>
                    <a:p>
                      <a:pPr marL="0" marR="0" lvl="0" indent="0" algn="l" rtl="0">
                        <a:lnSpc>
                          <a:spcPct val="100000"/>
                        </a:lnSpc>
                        <a:spcBef>
                          <a:spcPct val="0"/>
                        </a:spcBef>
                        <a:spcAft>
                          <a:spcPct val="0"/>
                        </a:spcAft>
                        <a:buClr>
                          <a:srgbClr val="008000"/>
                        </a:buClr>
                        <a:buSzPts val="1800"/>
                        <a:buFont typeface="Arial"/>
                        <a:buNone/>
                      </a:pPr>
                      <a:r>
                        <a:rPr lang="zh-Hans" sz="1500" b="0" i="0" u="none" strike="noStrike" cap="none" dirty="0">
                          <a:solidFill>
                            <a:srgbClr val="009999"/>
                          </a:solidFill>
                          <a:highlight>
                            <a:srgbClr val="000000">
                              <a:alpha val="0"/>
                            </a:srgbClr>
                          </a:highlight>
                          <a:latin typeface="Simsun"/>
                          <a:ea typeface="Simsun"/>
                          <a:cs typeface="Calibri"/>
                          <a:sym typeface="Calibri"/>
                        </a:rPr>
                        <a:t>PoE</a:t>
                      </a:r>
                      <a:r>
                        <a:rPr lang="en-US" altLang="zh-Hans" sz="1500" b="0" i="0" u="none" strike="noStrike" cap="none" dirty="0">
                          <a:solidFill>
                            <a:srgbClr val="009999"/>
                          </a:solidFill>
                          <a:highlight>
                            <a:srgbClr val="000000">
                              <a:alpha val="0"/>
                            </a:srgbClr>
                          </a:highlight>
                          <a:latin typeface="Simsun"/>
                          <a:ea typeface="Simsun"/>
                          <a:cs typeface="Calibri"/>
                          <a:sym typeface="Calibri"/>
                        </a:rPr>
                        <a:t>.</a:t>
                      </a:r>
                      <a:r>
                        <a:rPr lang="zh-Hans" sz="1500" b="0" i="0" u="none" strike="noStrike" cap="none" dirty="0">
                          <a:solidFill>
                            <a:srgbClr val="009999"/>
                          </a:solidFill>
                          <a:highlight>
                            <a:srgbClr val="000000">
                              <a:alpha val="0"/>
                            </a:srgbClr>
                          </a:highlight>
                          <a:latin typeface="Simsun"/>
                          <a:ea typeface="Simsun"/>
                          <a:cs typeface="Calibri"/>
                          <a:sym typeface="Calibri"/>
                        </a:rPr>
                        <a:t>PoEs和边境卫生</a:t>
                      </a:r>
                    </a:p>
                    <a:p>
                      <a:pPr marL="0" marR="0" lvl="0" indent="0" algn="l" rtl="0">
                        <a:lnSpc>
                          <a:spcPct val="100000"/>
                        </a:lnSpc>
                        <a:spcBef>
                          <a:spcPct val="0"/>
                        </a:spcBef>
                        <a:spcAft>
                          <a:spcPct val="0"/>
                        </a:spcAft>
                        <a:buClr>
                          <a:srgbClr val="008000"/>
                        </a:buClr>
                        <a:buSzPts val="1800"/>
                        <a:buFont typeface="Arial"/>
                        <a:buNone/>
                      </a:pPr>
                      <a:r>
                        <a:rPr lang="zh-Hans" sz="1500" b="0" i="0" u="none" strike="noStrike" cap="none" dirty="0">
                          <a:solidFill>
                            <a:srgbClr val="009999"/>
                          </a:solidFill>
                          <a:highlight>
                            <a:srgbClr val="000000">
                              <a:alpha val="0"/>
                            </a:srgbClr>
                          </a:highlight>
                          <a:latin typeface="Simsun"/>
                          <a:ea typeface="Simsun"/>
                          <a:cs typeface="Calibri"/>
                          <a:sym typeface="Calibri"/>
                        </a:rPr>
                        <a:t>CE</a:t>
                      </a:r>
                      <a:r>
                        <a:rPr lang="en-US" altLang="zh-Hans" sz="1500" b="0" i="0" u="none" strike="noStrike" cap="none" dirty="0">
                          <a:solidFill>
                            <a:srgbClr val="009999"/>
                          </a:solidFill>
                          <a:highlight>
                            <a:srgbClr val="000000">
                              <a:alpha val="0"/>
                            </a:srgbClr>
                          </a:highlight>
                          <a:latin typeface="Simsun"/>
                          <a:ea typeface="Simsun"/>
                          <a:cs typeface="Calibri"/>
                          <a:sym typeface="Calibri"/>
                        </a:rPr>
                        <a:t>.</a:t>
                      </a:r>
                      <a:r>
                        <a:rPr lang="zh-Hans" sz="1500" b="0" i="0" u="none" strike="noStrike" cap="none" dirty="0">
                          <a:solidFill>
                            <a:srgbClr val="009999"/>
                          </a:solidFill>
                          <a:highlight>
                            <a:srgbClr val="000000">
                              <a:alpha val="0"/>
                            </a:srgbClr>
                          </a:highlight>
                          <a:latin typeface="Simsun"/>
                          <a:ea typeface="Simsun"/>
                          <a:cs typeface="Calibri"/>
                          <a:sym typeface="Calibri"/>
                        </a:rPr>
                        <a:t>化学事件</a:t>
                      </a:r>
                    </a:p>
                    <a:p>
                      <a:pPr marL="0" marR="0" lvl="0" indent="0" algn="l" rtl="0">
                        <a:lnSpc>
                          <a:spcPct val="100000"/>
                        </a:lnSpc>
                        <a:spcBef>
                          <a:spcPct val="0"/>
                        </a:spcBef>
                        <a:spcAft>
                          <a:spcPct val="0"/>
                        </a:spcAft>
                        <a:buClr>
                          <a:srgbClr val="008000"/>
                        </a:buClr>
                        <a:buSzPts val="1800"/>
                        <a:buFont typeface="Arial"/>
                        <a:buNone/>
                      </a:pPr>
                      <a:r>
                        <a:rPr lang="zh-Hans" sz="1500" b="0" i="0" u="none" strike="noStrike" cap="none" dirty="0">
                          <a:solidFill>
                            <a:srgbClr val="009999"/>
                          </a:solidFill>
                          <a:highlight>
                            <a:srgbClr val="000000">
                              <a:alpha val="0"/>
                            </a:srgbClr>
                          </a:highlight>
                          <a:latin typeface="Simsun"/>
                          <a:ea typeface="Simsun"/>
                          <a:cs typeface="Calibri"/>
                          <a:sym typeface="Calibri"/>
                        </a:rPr>
                        <a:t>RE</a:t>
                      </a:r>
                      <a:r>
                        <a:rPr lang="en-US" altLang="zh-Hans" sz="1500" b="0" i="0" u="none" strike="noStrike" cap="none" dirty="0">
                          <a:solidFill>
                            <a:srgbClr val="009999"/>
                          </a:solidFill>
                          <a:highlight>
                            <a:srgbClr val="000000">
                              <a:alpha val="0"/>
                            </a:srgbClr>
                          </a:highlight>
                          <a:latin typeface="Simsun"/>
                          <a:ea typeface="Simsun"/>
                          <a:cs typeface="Calibri"/>
                          <a:sym typeface="Calibri"/>
                        </a:rPr>
                        <a:t>.</a:t>
                      </a:r>
                      <a:r>
                        <a:rPr lang="zh-Hans" sz="1500" b="0" i="0" u="none" strike="noStrike" cap="none" dirty="0">
                          <a:solidFill>
                            <a:srgbClr val="009999"/>
                          </a:solidFill>
                          <a:highlight>
                            <a:srgbClr val="000000">
                              <a:alpha val="0"/>
                            </a:srgbClr>
                          </a:highlight>
                          <a:latin typeface="Simsun"/>
                          <a:ea typeface="Simsun"/>
                          <a:cs typeface="Calibri"/>
                          <a:sym typeface="Calibri"/>
                        </a:rPr>
                        <a:t>辐射紧急情况</a:t>
                      </a:r>
                      <a:endParaRPr sz="1500" b="0" u="none" strike="noStrike" cap="none" dirty="0">
                        <a:solidFill>
                          <a:srgbClr val="009999"/>
                        </a:solidFill>
                        <a:latin typeface="Calibri" panose="020F0502020204030204" pitchFamily="34" charset="0"/>
                        <a:ea typeface="Calibri"/>
                        <a:cs typeface="Calibri" panose="020F0502020204030204" pitchFamily="34" charset="0"/>
                        <a:sym typeface="Calibri"/>
                      </a:endParaRPr>
                    </a:p>
                  </a:txBody>
                  <a:tcPr marL="56152" marR="56152" marT="0" marB="0"/>
                </a:tc>
                <a:extLst>
                  <a:ext uri="{0D108BD9-81ED-4DB2-BD59-A6C34878D82A}">
                    <a16:rowId xmlns:a16="http://schemas.microsoft.com/office/drawing/2014/main" val="10001"/>
                  </a:ext>
                </a:extLst>
              </a:tr>
            </a:tbl>
          </a:graphicData>
        </a:graphic>
      </p:graphicFrame>
      <p:sp>
        <p:nvSpPr>
          <p:cNvPr id="9" name="TextBox 8">
            <a:extLst>
              <a:ext uri="{FF2B5EF4-FFF2-40B4-BE49-F238E27FC236}">
                <a16:creationId xmlns:a16="http://schemas.microsoft.com/office/drawing/2014/main" id="{7031BA3D-02AD-48A0-B6EA-4C1D104F1170}"/>
              </a:ext>
            </a:extLst>
          </p:cNvPr>
          <p:cNvSpPr txBox="1"/>
          <p:nvPr/>
        </p:nvSpPr>
        <p:spPr>
          <a:xfrm>
            <a:off x="608781" y="4413749"/>
            <a:ext cx="6773704" cy="1223412"/>
          </a:xfrm>
          <a:prstGeom prst="rect">
            <a:avLst/>
          </a:prstGeom>
          <a:noFill/>
        </p:spPr>
        <p:txBody>
          <a:bodyPr wrap="square">
            <a:noAutofit/>
          </a:bodyPr>
          <a:lstStyle/>
          <a:p>
            <a:pPr defTabSz="685768" rtl="0">
              <a:buClr>
                <a:srgbClr val="000000"/>
              </a:buClr>
            </a:pPr>
            <a:r>
              <a:rPr lang="zh-Hans" sz="1000" b="0" i="1" u="none" strike="noStrike" kern="0" dirty="0">
                <a:solidFill>
                  <a:srgbClr val="000000"/>
                </a:solidFill>
                <a:highlight>
                  <a:srgbClr val="000000">
                    <a:alpha val="0"/>
                  </a:srgbClr>
                </a:highlight>
                <a:latin typeface="Simsun"/>
                <a:ea typeface="Simsun"/>
                <a:cs typeface="Arial"/>
                <a:sym typeface="Arial"/>
              </a:rPr>
              <a:t>第三版JEE工具的主要变化：</a:t>
            </a:r>
          </a:p>
          <a:p>
            <a:pPr marL="214303" indent="-214303" defTabSz="685768" rtl="0">
              <a:buClr>
                <a:srgbClr val="000000"/>
              </a:buClr>
              <a:buFont typeface="Arial" panose="020B0604020202020204" pitchFamily="34" charset="0"/>
              <a:buChar char="•"/>
            </a:pPr>
            <a:r>
              <a:rPr lang="zh-Hans" sz="1000" b="0" i="1" u="none" strike="noStrike" kern="0" dirty="0">
                <a:solidFill>
                  <a:srgbClr val="000000"/>
                </a:solidFill>
                <a:highlight>
                  <a:srgbClr val="000000">
                    <a:alpha val="0"/>
                  </a:srgbClr>
                </a:highlight>
                <a:latin typeface="Simsun"/>
                <a:ea typeface="Simsun"/>
                <a:cs typeface="Arial"/>
                <a:sym typeface="Arial"/>
              </a:rPr>
              <a:t>将技术领域P1国家立法、政策和融资分为两个技术领域</a:t>
            </a:r>
            <a:r>
              <a:rPr lang="en-US" altLang="zh-CN" sz="1000" i="1" kern="0" dirty="0">
                <a:solidFill>
                  <a:srgbClr val="000000"/>
                </a:solidFill>
                <a:highlight>
                  <a:srgbClr val="000000">
                    <a:alpha val="0"/>
                  </a:srgbClr>
                </a:highlight>
                <a:latin typeface="Simsun"/>
                <a:ea typeface="Simsun"/>
                <a:cs typeface="Arial"/>
                <a:sym typeface="Arial"/>
              </a:rPr>
              <a:t>——</a:t>
            </a:r>
            <a:r>
              <a:rPr lang="zh-Hans" sz="1000" b="0" i="1" u="none" strike="noStrike" kern="0" dirty="0">
                <a:solidFill>
                  <a:srgbClr val="000000"/>
                </a:solidFill>
                <a:highlight>
                  <a:srgbClr val="000000">
                    <a:alpha val="0"/>
                  </a:srgbClr>
                </a:highlight>
                <a:latin typeface="Simsun"/>
                <a:ea typeface="Simsun"/>
                <a:cs typeface="Arial"/>
                <a:sym typeface="Arial"/>
              </a:rPr>
              <a:t>P1.法律文书和P2</a:t>
            </a:r>
            <a:r>
              <a:rPr lang="en-US" altLang="zh-Hans" sz="1000" b="0" i="1" u="none" strike="noStrike" kern="0" dirty="0">
                <a:solidFill>
                  <a:srgbClr val="000000"/>
                </a:solidFill>
                <a:highlight>
                  <a:srgbClr val="000000">
                    <a:alpha val="0"/>
                  </a:srgbClr>
                </a:highlight>
                <a:latin typeface="Simsun"/>
                <a:ea typeface="Simsun"/>
                <a:cs typeface="Arial"/>
                <a:sym typeface="Arial"/>
              </a:rPr>
              <a:t>.</a:t>
            </a:r>
            <a:r>
              <a:rPr lang="zh-Hans" sz="1000" b="0" i="1" u="none" strike="noStrike" kern="0" dirty="0">
                <a:solidFill>
                  <a:srgbClr val="000000"/>
                </a:solidFill>
                <a:highlight>
                  <a:srgbClr val="000000">
                    <a:alpha val="0"/>
                  </a:srgbClr>
                </a:highlight>
                <a:latin typeface="Simsun"/>
                <a:ea typeface="Simsun"/>
                <a:cs typeface="Arial"/>
                <a:sym typeface="Arial"/>
              </a:rPr>
              <a:t>融资</a:t>
            </a:r>
            <a:r>
              <a:rPr lang="zh-CN" altLang="en-US" sz="1000" i="1" kern="0" dirty="0">
                <a:solidFill>
                  <a:srgbClr val="000000"/>
                </a:solidFill>
                <a:highlight>
                  <a:srgbClr val="000000">
                    <a:alpha val="0"/>
                  </a:srgbClr>
                </a:highlight>
                <a:latin typeface="Simsun"/>
                <a:ea typeface="Simsun"/>
                <a:cs typeface="Arial"/>
                <a:sym typeface="Arial"/>
              </a:rPr>
              <a:t>；</a:t>
            </a:r>
            <a:endParaRPr lang="zh-Hans" sz="1000" b="0" i="1" u="none" strike="noStrike" kern="0" dirty="0">
              <a:solidFill>
                <a:srgbClr val="000000"/>
              </a:solidFill>
              <a:highlight>
                <a:srgbClr val="000000">
                  <a:alpha val="0"/>
                </a:srgbClr>
              </a:highlight>
              <a:latin typeface="Simsun"/>
              <a:ea typeface="Simsun"/>
              <a:cs typeface="Arial"/>
              <a:sym typeface="Arial"/>
            </a:endParaRPr>
          </a:p>
          <a:p>
            <a:pPr marL="214303" indent="-214303" defTabSz="685768" rtl="0">
              <a:buClr>
                <a:srgbClr val="000000"/>
              </a:buClr>
              <a:buFont typeface="Arial" panose="020B0604020202020204" pitchFamily="34" charset="0"/>
              <a:buChar char="•"/>
            </a:pPr>
            <a:r>
              <a:rPr lang="zh-Hans" sz="1000" b="0" i="1" u="none" strike="noStrike" kern="0" dirty="0">
                <a:solidFill>
                  <a:srgbClr val="000000"/>
                </a:solidFill>
                <a:highlight>
                  <a:srgbClr val="000000">
                    <a:alpha val="0"/>
                  </a:srgbClr>
                </a:highlight>
                <a:latin typeface="Simsun"/>
                <a:ea typeface="Simsun"/>
                <a:cs typeface="Arial"/>
                <a:sym typeface="Arial"/>
              </a:rPr>
              <a:t>删除之前名为D3的技术领域。将</a:t>
            </a:r>
            <a:r>
              <a:rPr lang="zh-CN" altLang="en-US" sz="1000" b="0" i="1" u="none" strike="noStrike" kern="0" dirty="0">
                <a:solidFill>
                  <a:srgbClr val="000000"/>
                </a:solidFill>
                <a:highlight>
                  <a:srgbClr val="000000">
                    <a:alpha val="0"/>
                  </a:srgbClr>
                </a:highlight>
                <a:latin typeface="Simsun"/>
                <a:ea typeface="Simsun"/>
                <a:cs typeface="Arial"/>
                <a:sym typeface="Arial"/>
              </a:rPr>
              <a:t>原</a:t>
            </a:r>
            <a:r>
              <a:rPr lang="en-US" altLang="zh-CN" sz="1000" b="0" i="1" u="none" strike="noStrike" kern="0" dirty="0">
                <a:solidFill>
                  <a:srgbClr val="000000"/>
                </a:solidFill>
                <a:highlight>
                  <a:srgbClr val="000000">
                    <a:alpha val="0"/>
                  </a:srgbClr>
                </a:highlight>
                <a:latin typeface="Simsun"/>
                <a:ea typeface="Simsun"/>
                <a:cs typeface="Arial"/>
                <a:sym typeface="Arial"/>
              </a:rPr>
              <a:t>D3</a:t>
            </a:r>
            <a:r>
              <a:rPr lang="zh-CN" altLang="en-US" sz="1000" b="0" i="1" u="none" strike="noStrike" kern="0" dirty="0">
                <a:solidFill>
                  <a:srgbClr val="000000"/>
                </a:solidFill>
                <a:highlight>
                  <a:srgbClr val="000000">
                    <a:alpha val="0"/>
                  </a:srgbClr>
                </a:highlight>
                <a:latin typeface="Simsun"/>
                <a:ea typeface="Simsun"/>
                <a:cs typeface="Arial"/>
                <a:sym typeface="Arial"/>
              </a:rPr>
              <a:t>下的</a:t>
            </a:r>
            <a:r>
              <a:rPr lang="zh-Hans" sz="1000" b="0" i="1" u="none" strike="noStrike" kern="0" dirty="0">
                <a:solidFill>
                  <a:srgbClr val="000000"/>
                </a:solidFill>
                <a:highlight>
                  <a:srgbClr val="000000">
                    <a:alpha val="0"/>
                  </a:srgbClr>
                </a:highlight>
                <a:latin typeface="Simsun"/>
                <a:ea typeface="Simsun"/>
                <a:cs typeface="Arial"/>
                <a:sym typeface="Arial"/>
              </a:rPr>
              <a:t>指标移至技术领域P3</a:t>
            </a:r>
            <a:r>
              <a:rPr lang="en-US" altLang="zh-Hans" sz="1000" b="0" i="1" u="none" strike="noStrike" kern="0" dirty="0">
                <a:solidFill>
                  <a:srgbClr val="000000"/>
                </a:solidFill>
                <a:highlight>
                  <a:srgbClr val="000000">
                    <a:alpha val="0"/>
                  </a:srgbClr>
                </a:highlight>
                <a:latin typeface="Simsun"/>
                <a:ea typeface="Simsun"/>
                <a:cs typeface="Arial"/>
                <a:sym typeface="Arial"/>
              </a:rPr>
              <a:t>.</a:t>
            </a:r>
            <a:r>
              <a:rPr lang="zh-Hans" sz="1000" b="0" i="1" u="none" strike="noStrike" kern="0" dirty="0">
                <a:solidFill>
                  <a:srgbClr val="000000"/>
                </a:solidFill>
                <a:highlight>
                  <a:srgbClr val="000000">
                    <a:alpha val="0"/>
                  </a:srgbClr>
                </a:highlight>
                <a:latin typeface="Simsun"/>
                <a:ea typeface="Simsun"/>
                <a:cs typeface="Arial"/>
                <a:sym typeface="Arial"/>
              </a:rPr>
              <a:t>IHR协调，IHR国家联络点和宣传；</a:t>
            </a:r>
          </a:p>
          <a:p>
            <a:pPr marL="214303" indent="-214303" defTabSz="685768" rtl="0">
              <a:buClr>
                <a:srgbClr val="000000"/>
              </a:buClr>
              <a:buFont typeface="Arial" panose="020B0604020202020204" pitchFamily="34" charset="0"/>
              <a:buChar char="•"/>
            </a:pPr>
            <a:r>
              <a:rPr lang="zh-CN" altLang="en-US" sz="1000" i="1" kern="0" dirty="0">
                <a:solidFill>
                  <a:srgbClr val="000000"/>
                </a:solidFill>
                <a:highlight>
                  <a:srgbClr val="000000">
                    <a:alpha val="0"/>
                  </a:srgbClr>
                </a:highlight>
                <a:latin typeface="Simsun"/>
                <a:ea typeface="Simsun"/>
                <a:cs typeface="Arial"/>
                <a:sym typeface="Arial"/>
              </a:rPr>
              <a:t>将</a:t>
            </a:r>
            <a:r>
              <a:rPr lang="zh-Hans" sz="1000" b="0" i="1" u="none" strike="noStrike" kern="0" dirty="0">
                <a:solidFill>
                  <a:srgbClr val="000000"/>
                </a:solidFill>
                <a:highlight>
                  <a:srgbClr val="000000">
                    <a:alpha val="0"/>
                  </a:srgbClr>
                </a:highlight>
                <a:latin typeface="Simsun"/>
                <a:ea typeface="Simsun"/>
                <a:cs typeface="Arial"/>
                <a:sym typeface="Arial"/>
              </a:rPr>
              <a:t>R1.应急准备和R2</a:t>
            </a:r>
            <a:r>
              <a:rPr lang="en-US" altLang="zh-Hans" sz="1000" b="0" i="1" u="none" strike="noStrike" kern="0" dirty="0">
                <a:solidFill>
                  <a:srgbClr val="000000"/>
                </a:solidFill>
                <a:highlight>
                  <a:srgbClr val="000000">
                    <a:alpha val="0"/>
                  </a:srgbClr>
                </a:highlight>
                <a:latin typeface="Simsun"/>
                <a:ea typeface="Simsun"/>
                <a:cs typeface="Arial"/>
                <a:sym typeface="Arial"/>
              </a:rPr>
              <a:t>.</a:t>
            </a:r>
            <a:r>
              <a:rPr lang="zh-Hans" sz="1000" b="0" i="1" u="none" strike="noStrike" kern="0" dirty="0">
                <a:solidFill>
                  <a:srgbClr val="000000"/>
                </a:solidFill>
                <a:highlight>
                  <a:srgbClr val="000000">
                    <a:alpha val="0"/>
                  </a:srgbClr>
                </a:highlight>
                <a:latin typeface="Simsun"/>
                <a:ea typeface="Simsun"/>
                <a:cs typeface="Arial"/>
                <a:sym typeface="Arial"/>
              </a:rPr>
              <a:t>紧急行动中心</a:t>
            </a:r>
            <a:r>
              <a:rPr lang="zh-CN" altLang="en-US" sz="1000" b="0" i="1" u="none" strike="noStrike" kern="0" dirty="0">
                <a:solidFill>
                  <a:srgbClr val="000000"/>
                </a:solidFill>
                <a:highlight>
                  <a:srgbClr val="000000">
                    <a:alpha val="0"/>
                  </a:srgbClr>
                </a:highlight>
                <a:latin typeface="Simsun"/>
                <a:ea typeface="Simsun"/>
                <a:cs typeface="Arial"/>
                <a:sym typeface="Arial"/>
              </a:rPr>
              <a:t>合并</a:t>
            </a:r>
            <a:r>
              <a:rPr lang="zh-Hans" sz="1000" b="0" i="1" u="none" strike="noStrike" kern="0" dirty="0">
                <a:solidFill>
                  <a:srgbClr val="000000"/>
                </a:solidFill>
                <a:highlight>
                  <a:srgbClr val="000000">
                    <a:alpha val="0"/>
                  </a:srgbClr>
                </a:highlight>
                <a:latin typeface="Simsun"/>
                <a:ea typeface="Simsun"/>
                <a:cs typeface="Arial"/>
                <a:sym typeface="Arial"/>
              </a:rPr>
              <a:t>成单一</a:t>
            </a:r>
            <a:r>
              <a:rPr lang="zh-CN" altLang="en-US" sz="1000" b="0" i="1" u="none" strike="noStrike" kern="0" dirty="0">
                <a:solidFill>
                  <a:srgbClr val="000000"/>
                </a:solidFill>
                <a:highlight>
                  <a:srgbClr val="000000">
                    <a:alpha val="0"/>
                  </a:srgbClr>
                </a:highlight>
                <a:latin typeface="Simsun"/>
                <a:ea typeface="Simsun"/>
                <a:cs typeface="Arial"/>
                <a:sym typeface="Arial"/>
              </a:rPr>
              <a:t>技术领域</a:t>
            </a:r>
            <a:r>
              <a:rPr lang="en-US" altLang="zh-CN" sz="1000" i="1" kern="0" dirty="0">
                <a:solidFill>
                  <a:srgbClr val="000000"/>
                </a:solidFill>
                <a:highlight>
                  <a:srgbClr val="000000">
                    <a:alpha val="0"/>
                  </a:srgbClr>
                </a:highlight>
                <a:latin typeface="Simsun"/>
                <a:ea typeface="Simsun"/>
                <a:cs typeface="Arial"/>
                <a:sym typeface="Arial"/>
              </a:rPr>
              <a:t>R1.</a:t>
            </a:r>
            <a:r>
              <a:rPr lang="zh-Hans" sz="1000" b="0" i="1" u="none" strike="noStrike" kern="0" dirty="0">
                <a:solidFill>
                  <a:srgbClr val="000000"/>
                </a:solidFill>
                <a:highlight>
                  <a:srgbClr val="000000">
                    <a:alpha val="0"/>
                  </a:srgbClr>
                </a:highlight>
                <a:latin typeface="Simsun"/>
                <a:ea typeface="Simsun"/>
                <a:cs typeface="Arial"/>
                <a:sym typeface="Arial"/>
              </a:rPr>
              <a:t>卫生应急管理。</a:t>
            </a:r>
          </a:p>
        </p:txBody>
      </p:sp>
      <p:sp>
        <p:nvSpPr>
          <p:cNvPr id="15" name="Title 1">
            <a:extLst>
              <a:ext uri="{FF2B5EF4-FFF2-40B4-BE49-F238E27FC236}">
                <a16:creationId xmlns:a16="http://schemas.microsoft.com/office/drawing/2014/main" id="{A9E97594-0C2A-4B8B-8C06-C93158D428F8}"/>
              </a:ext>
            </a:extLst>
          </p:cNvPr>
          <p:cNvSpPr>
            <a:spLocks noGrp="1"/>
          </p:cNvSpPr>
          <p:nvPr>
            <p:ph type="title"/>
          </p:nvPr>
        </p:nvSpPr>
        <p:spPr>
          <a:xfrm>
            <a:off x="457200" y="685800"/>
            <a:ext cx="11277600" cy="1004888"/>
          </a:xfrm>
        </p:spPr>
        <p:txBody>
          <a:bodyPr>
            <a:noAutofit/>
          </a:bodyPr>
          <a:lstStyle/>
          <a:p>
            <a:pPr rtl="0"/>
            <a:r>
              <a:rPr lang="zh-Hans" sz="3200" b="0" i="0" u="none" strike="noStrike" dirty="0">
                <a:highlight>
                  <a:srgbClr val="000000">
                    <a:alpha val="0"/>
                  </a:srgbClr>
                </a:highlight>
                <a:latin typeface="Simsun"/>
                <a:ea typeface="Simsun"/>
              </a:rPr>
              <a:t>联合外部评估第三版（19个技术领域，56项指标）</a:t>
            </a:r>
          </a:p>
        </p:txBody>
      </p:sp>
      <p:sp>
        <p:nvSpPr>
          <p:cNvPr id="2" name="TextBox 1">
            <a:extLst>
              <a:ext uri="{FF2B5EF4-FFF2-40B4-BE49-F238E27FC236}">
                <a16:creationId xmlns:a16="http://schemas.microsoft.com/office/drawing/2014/main" id="{EBA5010F-F0AE-B84A-ACF8-46095E31F0E2}"/>
              </a:ext>
            </a:extLst>
          </p:cNvPr>
          <p:cNvSpPr txBox="1"/>
          <p:nvPr/>
        </p:nvSpPr>
        <p:spPr>
          <a:xfrm>
            <a:off x="3283195" y="5669110"/>
            <a:ext cx="5625609" cy="584775"/>
          </a:xfrm>
          <a:prstGeom prst="rect">
            <a:avLst/>
          </a:prstGeom>
          <a:noFill/>
        </p:spPr>
        <p:txBody>
          <a:bodyPr wrap="square" rtlCol="0">
            <a:noAutofit/>
          </a:bodyPr>
          <a:lstStyle/>
          <a:p>
            <a:pPr rtl="0"/>
            <a:r>
              <a:rPr lang="zh-Hans" sz="1600" b="0" i="1" u="none" strike="noStrike">
                <a:highlight>
                  <a:srgbClr val="000000">
                    <a:alpha val="0"/>
                  </a:srgbClr>
                </a:highlight>
                <a:latin typeface="Simsun"/>
                <a:ea typeface="Simsun"/>
              </a:rPr>
              <a:t>关于世界卫生组织欧洲区域JEE的研究</a:t>
            </a:r>
          </a:p>
          <a:p>
            <a:pPr rtl="0"/>
            <a:r>
              <a:rPr lang="zh-Hans" sz="1600" b="0" i="1" u="none" strike="noStrike">
                <a:highlight>
                  <a:srgbClr val="000000">
                    <a:alpha val="0"/>
                  </a:srgbClr>
                </a:highlight>
                <a:latin typeface="Simsun"/>
                <a:ea typeface="Simsun"/>
              </a:rPr>
              <a:t>https://apps.who.int/iris/handle/10665/345630</a:t>
            </a:r>
            <a:endParaRPr lang="en-FI" sz="1600" i="1"/>
          </a:p>
        </p:txBody>
      </p:sp>
    </p:spTree>
    <p:extLst>
      <p:ext uri="{BB962C8B-B14F-4D97-AF65-F5344CB8AC3E}">
        <p14:creationId xmlns:p14="http://schemas.microsoft.com/office/powerpoint/2010/main" val="40132122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428936-261E-437F-8BA8-C4C2B2B3A8C5}"/>
              </a:ext>
            </a:extLst>
          </p:cNvPr>
          <p:cNvPicPr>
            <a:picLocks noChangeAspect="1"/>
          </p:cNvPicPr>
          <p:nvPr/>
        </p:nvPicPr>
        <p:blipFill>
          <a:blip r:embed="rId3"/>
          <a:stretch>
            <a:fillRect/>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8989111D-73CF-456C-8104-890EBF6D0371}"/>
              </a:ext>
            </a:extLst>
          </p:cNvPr>
          <p:cNvSpPr>
            <a:spLocks noGrp="1"/>
          </p:cNvSpPr>
          <p:nvPr>
            <p:ph type="sldNum" sz="quarter" idx="12"/>
          </p:nvPr>
        </p:nvSpPr>
        <p:spPr/>
        <p:txBody>
          <a:bodyPr>
            <a:noAutofit/>
          </a:bodyPr>
          <a:lstStyle/>
          <a:p>
            <a:pPr rtl="0"/>
            <a:r>
              <a:rPr lang="zh-Hans" sz="900" b="0" i="0" u="none" strike="noStrike">
                <a:highlight>
                  <a:srgbClr val="000000">
                    <a:alpha val="0"/>
                  </a:srgbClr>
                </a:highlight>
                <a:latin typeface="Simsun"/>
                <a:ea typeface="Simsun"/>
              </a:rPr>
              <a:t>7</a:t>
            </a:r>
            <a:endParaRPr lang="en-US"/>
          </a:p>
        </p:txBody>
      </p:sp>
      <p:pic>
        <p:nvPicPr>
          <p:cNvPr id="6" name="Gráfico 2">
            <a:extLst>
              <a:ext uri="{FF2B5EF4-FFF2-40B4-BE49-F238E27FC236}">
                <a16:creationId xmlns:a16="http://schemas.microsoft.com/office/drawing/2014/main" id="{D0D62EA9-0518-C34F-A511-EC387608BDAA}"/>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7999"/>
          </a:xfrm>
          <a:prstGeom prst="rect">
            <a:avLst/>
          </a:prstGeom>
        </p:spPr>
      </p:pic>
      <p:sp>
        <p:nvSpPr>
          <p:cNvPr id="9" name="Title 1">
            <a:extLst>
              <a:ext uri="{FF2B5EF4-FFF2-40B4-BE49-F238E27FC236}">
                <a16:creationId xmlns:a16="http://schemas.microsoft.com/office/drawing/2014/main" id="{95A99C8C-4EBF-4162-9E7B-9C328578B629}"/>
              </a:ext>
            </a:extLst>
          </p:cNvPr>
          <p:cNvSpPr>
            <a:spLocks noGrp="1"/>
          </p:cNvSpPr>
          <p:nvPr>
            <p:ph type="title"/>
          </p:nvPr>
        </p:nvSpPr>
        <p:spPr>
          <a:xfrm>
            <a:off x="457200" y="685800"/>
            <a:ext cx="11277600" cy="1004888"/>
          </a:xfrm>
        </p:spPr>
        <p:txBody>
          <a:bodyPr>
            <a:noAutofit/>
          </a:bodyPr>
          <a:lstStyle/>
          <a:p>
            <a:pPr rtl="0"/>
            <a:r>
              <a:rPr lang="zh-Hans" sz="3200" b="0" i="0" u="none" strike="noStrike">
                <a:highlight>
                  <a:srgbClr val="000000">
                    <a:alpha val="0"/>
                  </a:srgbClr>
                </a:highlight>
                <a:latin typeface="Simsun"/>
                <a:ea typeface="Simsun"/>
              </a:rPr>
              <a:t>世卫组织欧洲区域的联合外部评价</a:t>
            </a:r>
          </a:p>
        </p:txBody>
      </p:sp>
      <p:sp>
        <p:nvSpPr>
          <p:cNvPr id="10" name="Rounded Rectangle 8">
            <a:extLst>
              <a:ext uri="{FF2B5EF4-FFF2-40B4-BE49-F238E27FC236}">
                <a16:creationId xmlns:a16="http://schemas.microsoft.com/office/drawing/2014/main" id="{70505BCC-C432-43DC-B642-BBCA0278B2C5}"/>
              </a:ext>
            </a:extLst>
          </p:cNvPr>
          <p:cNvSpPr/>
          <p:nvPr/>
        </p:nvSpPr>
        <p:spPr>
          <a:xfrm>
            <a:off x="0" y="2143750"/>
            <a:ext cx="5028806" cy="437725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endParaRPr lang="en-US" altLang="en-US" i="1" dirty="0">
              <a:solidFill>
                <a:schemeClr val="tx1"/>
              </a:solidFill>
            </a:endParaRPr>
          </a:p>
          <a:p>
            <a:pPr algn="ctr"/>
            <a:endParaRPr lang="en-US" altLang="en-US" i="1" dirty="0">
              <a:solidFill>
                <a:schemeClr val="tx1"/>
              </a:solidFill>
            </a:endParaRPr>
          </a:p>
          <a:p>
            <a:pPr algn="ctr"/>
            <a:endParaRPr lang="en-US" altLang="en-US" i="1" dirty="0">
              <a:solidFill>
                <a:schemeClr val="tx1"/>
              </a:solidFill>
            </a:endParaRPr>
          </a:p>
          <a:p>
            <a:pPr algn="ctr"/>
            <a:endParaRPr lang="en-US" altLang="en-US" i="1" dirty="0">
              <a:solidFill>
                <a:schemeClr val="tx1"/>
              </a:solidFill>
            </a:endParaRPr>
          </a:p>
          <a:p>
            <a:pPr algn="r"/>
            <a:r>
              <a:rPr lang="en-US" altLang="en-US" i="1" dirty="0">
                <a:solidFill>
                  <a:schemeClr val="tx1"/>
                </a:solidFill>
              </a:rPr>
              <a:t>				</a:t>
            </a:r>
          </a:p>
          <a:p>
            <a:pPr algn="r"/>
            <a:endParaRPr lang="en-US" altLang="en-US" i="1" dirty="0">
              <a:solidFill>
                <a:schemeClr val="tx1"/>
              </a:solidFill>
            </a:endParaRPr>
          </a:p>
          <a:p>
            <a:pPr algn="r"/>
            <a:endParaRPr lang="en-US" altLang="en-US" i="1" dirty="0">
              <a:solidFill>
                <a:schemeClr val="tx1"/>
              </a:solidFill>
            </a:endParaRPr>
          </a:p>
          <a:p>
            <a:pPr algn="r"/>
            <a:endParaRPr lang="en-US" altLang="en-US" i="1" dirty="0">
              <a:solidFill>
                <a:schemeClr val="tx1"/>
              </a:solidFill>
            </a:endParaRPr>
          </a:p>
          <a:p>
            <a:pPr algn="r"/>
            <a:endParaRPr lang="en-US" altLang="en-US" i="1" dirty="0">
              <a:solidFill>
                <a:schemeClr val="tx1"/>
              </a:solidFill>
            </a:endParaRPr>
          </a:p>
          <a:p>
            <a:pPr algn="r" rtl="0"/>
            <a:r>
              <a:rPr lang="zh-Hans" sz="1800" b="0" i="1" u="none" strike="noStrike" dirty="0">
                <a:solidFill>
                  <a:srgbClr val="000000"/>
                </a:solidFill>
                <a:highlight>
                  <a:srgbClr val="000000">
                    <a:alpha val="0"/>
                  </a:srgbClr>
                </a:highlight>
                <a:latin typeface="Simsun"/>
                <a:ea typeface="Simsun"/>
              </a:rPr>
              <a:t>			全球</a:t>
            </a:r>
            <a:r>
              <a:rPr lang="zh-CN" altLang="en-US" sz="1800" b="0" i="1" u="none" strike="noStrike" dirty="0">
                <a:solidFill>
                  <a:srgbClr val="000000"/>
                </a:solidFill>
                <a:highlight>
                  <a:srgbClr val="000000">
                    <a:alpha val="0"/>
                  </a:srgbClr>
                </a:highlight>
                <a:latin typeface="Simsun"/>
                <a:ea typeface="Simsun"/>
              </a:rPr>
              <a:t>范围内</a:t>
            </a:r>
            <a:r>
              <a:rPr lang="zh-Hans" sz="1800" b="0" i="1" u="none" strike="noStrike" dirty="0">
                <a:solidFill>
                  <a:srgbClr val="000000"/>
                </a:solidFill>
                <a:highlight>
                  <a:srgbClr val="000000">
                    <a:alpha val="0"/>
                  </a:srgbClr>
                </a:highlight>
                <a:latin typeface="Simsun"/>
                <a:ea typeface="Simsun"/>
              </a:rPr>
              <a:t>：</a:t>
            </a:r>
          </a:p>
          <a:p>
            <a:pPr algn="r" rtl="0"/>
            <a:r>
              <a:rPr lang="zh-Hans" sz="2000" b="1" i="1" u="none" strike="noStrike" dirty="0">
                <a:solidFill>
                  <a:srgbClr val="000000"/>
                </a:solidFill>
                <a:highlight>
                  <a:srgbClr val="000000">
                    <a:alpha val="0"/>
                  </a:srgbClr>
                </a:highlight>
                <a:latin typeface="Simsun"/>
                <a:ea typeface="Simsun"/>
              </a:rPr>
              <a:t>		116个国家</a:t>
            </a:r>
            <a:r>
              <a:rPr lang="zh-CN" altLang="en-US" sz="2000" b="1" i="1" u="none" strike="noStrike" dirty="0">
                <a:solidFill>
                  <a:srgbClr val="000000"/>
                </a:solidFill>
                <a:highlight>
                  <a:srgbClr val="000000">
                    <a:alpha val="0"/>
                  </a:srgbClr>
                </a:highlight>
                <a:latin typeface="Simsun"/>
                <a:ea typeface="Simsun"/>
              </a:rPr>
              <a:t>已提交</a:t>
            </a:r>
            <a:endParaRPr lang="zh-Hans" sz="2000" b="1" i="1" u="none" strike="noStrike" dirty="0">
              <a:solidFill>
                <a:srgbClr val="000000"/>
              </a:solidFill>
              <a:highlight>
                <a:srgbClr val="000000">
                  <a:alpha val="0"/>
                </a:srgbClr>
              </a:highlight>
              <a:latin typeface="Simsun"/>
              <a:ea typeface="Simsun"/>
            </a:endParaRPr>
          </a:p>
          <a:p>
            <a:pPr algn="r" rtl="0"/>
            <a:r>
              <a:rPr lang="en-US" altLang="zh-Hans" sz="2000" b="1" i="1" u="none" strike="noStrike" dirty="0">
                <a:solidFill>
                  <a:srgbClr val="000000"/>
                </a:solidFill>
                <a:highlight>
                  <a:srgbClr val="000000">
                    <a:alpha val="0"/>
                  </a:srgbClr>
                </a:highlight>
                <a:latin typeface="Simsun"/>
                <a:ea typeface="Simsun"/>
              </a:rPr>
              <a:t>11</a:t>
            </a:r>
            <a:r>
              <a:rPr lang="zh-CN" altLang="en-US" sz="2000" b="1" i="1" dirty="0">
                <a:solidFill>
                  <a:srgbClr val="000000"/>
                </a:solidFill>
                <a:highlight>
                  <a:srgbClr val="000000">
                    <a:alpha val="0"/>
                  </a:srgbClr>
                </a:highlight>
                <a:latin typeface="Simsun"/>
                <a:ea typeface="Simsun"/>
              </a:rPr>
              <a:t>个国家报告在</a:t>
            </a:r>
            <a:r>
              <a:rPr lang="zh-Hans" sz="2000" b="1" i="1" u="none" strike="noStrike" dirty="0">
                <a:solidFill>
                  <a:srgbClr val="000000"/>
                </a:solidFill>
                <a:highlight>
                  <a:srgbClr val="000000">
                    <a:alpha val="0"/>
                  </a:srgbClr>
                </a:highlight>
                <a:latin typeface="Simsun"/>
                <a:ea typeface="Simsun"/>
              </a:rPr>
              <a:t>筹备中</a:t>
            </a:r>
            <a:endParaRPr lang="en-US" b="1" dirty="0">
              <a:solidFill>
                <a:schemeClr val="tx1"/>
              </a:solidFill>
            </a:endParaRPr>
          </a:p>
        </p:txBody>
      </p:sp>
      <p:sp>
        <p:nvSpPr>
          <p:cNvPr id="13" name="TextBox 12">
            <a:extLst>
              <a:ext uri="{FF2B5EF4-FFF2-40B4-BE49-F238E27FC236}">
                <a16:creationId xmlns:a16="http://schemas.microsoft.com/office/drawing/2014/main" id="{9C6FAEC0-FE1F-4CCC-91E5-45D2CEC3B14A}"/>
              </a:ext>
            </a:extLst>
          </p:cNvPr>
          <p:cNvSpPr txBox="1"/>
          <p:nvPr/>
        </p:nvSpPr>
        <p:spPr>
          <a:xfrm>
            <a:off x="7474871" y="1119484"/>
            <a:ext cx="2992352" cy="5719137"/>
          </a:xfrm>
          <a:prstGeom prst="roundRect">
            <a:avLst/>
          </a:prstGeom>
          <a:noFill/>
        </p:spPr>
        <p:txBody>
          <a:bodyPr wrap="square">
            <a:noAutofit/>
          </a:bodyPr>
          <a:lstStyle/>
          <a:p>
            <a:pPr rtl="0">
              <a:defRPr/>
            </a:pPr>
            <a:r>
              <a:rPr lang="zh-Hans" sz="1800" b="1" i="0" u="none" strike="noStrike">
                <a:highlight>
                  <a:srgbClr val="000000">
                    <a:alpha val="0"/>
                  </a:srgbClr>
                </a:highlight>
                <a:latin typeface="Simsun"/>
                <a:ea typeface="Simsun"/>
              </a:rPr>
              <a:t>已完成的JEE (20)</a:t>
            </a:r>
          </a:p>
          <a:p>
            <a:pPr>
              <a:defRPr/>
            </a:pPr>
            <a:endParaRPr lang="en-US" sz="1050" b="1"/>
          </a:p>
          <a:p>
            <a:pPr marL="342900" indent="-342900" rtl="0">
              <a:buFont typeface="+mj-lt"/>
              <a:buAutoNum type="arabicPeriod"/>
              <a:defRPr/>
            </a:pPr>
            <a:r>
              <a:rPr lang="zh-Hans" sz="1600" b="0" i="0" u="none" strike="noStrike">
                <a:highlight>
                  <a:srgbClr val="000000">
                    <a:alpha val="0"/>
                  </a:srgbClr>
                </a:highlight>
                <a:latin typeface="Simsun"/>
                <a:ea typeface="Simsun"/>
              </a:rPr>
              <a:t>阿尔巴尼亚, 2016</a:t>
            </a:r>
          </a:p>
          <a:p>
            <a:pPr marL="342900" indent="-342900" rtl="0">
              <a:buFont typeface="+mj-lt"/>
              <a:buAutoNum type="arabicPeriod"/>
              <a:defRPr/>
            </a:pPr>
            <a:r>
              <a:rPr lang="zh-Hans" sz="1600" b="0" i="0" u="none" strike="noStrike">
                <a:highlight>
                  <a:srgbClr val="000000">
                    <a:alpha val="0"/>
                  </a:srgbClr>
                </a:highlight>
                <a:latin typeface="Simsun"/>
                <a:ea typeface="Simsun"/>
              </a:rPr>
              <a:t>亚美尼亚, 2016</a:t>
            </a:r>
          </a:p>
          <a:p>
            <a:pPr marL="342900" indent="-342900" rtl="0">
              <a:buFont typeface="+mj-lt"/>
              <a:buAutoNum type="arabicPeriod"/>
              <a:defRPr/>
            </a:pPr>
            <a:r>
              <a:rPr lang="zh-Hans" sz="1600" b="0" i="0" u="none" strike="noStrike">
                <a:highlight>
                  <a:srgbClr val="000000">
                    <a:alpha val="0"/>
                  </a:srgbClr>
                </a:highlight>
                <a:latin typeface="Simsun"/>
                <a:ea typeface="Simsun"/>
              </a:rPr>
              <a:t>比利时, 2017</a:t>
            </a:r>
          </a:p>
          <a:p>
            <a:pPr marL="342900" indent="-342900" rtl="0">
              <a:buFont typeface="+mj-lt"/>
              <a:buAutoNum type="arabicPeriod"/>
              <a:defRPr/>
            </a:pPr>
            <a:r>
              <a:rPr lang="zh-Hans" sz="1600" b="0" i="0" u="none" strike="noStrike">
                <a:highlight>
                  <a:srgbClr val="000000">
                    <a:alpha val="0"/>
                  </a:srgbClr>
                </a:highlight>
                <a:latin typeface="Simsun"/>
                <a:ea typeface="Simsun"/>
              </a:rPr>
              <a:t>芬兰, 2017</a:t>
            </a:r>
          </a:p>
          <a:p>
            <a:pPr marL="342900" indent="-342900" rtl="0">
              <a:buFont typeface="+mj-lt"/>
              <a:buAutoNum type="arabicPeriod"/>
              <a:defRPr/>
            </a:pPr>
            <a:r>
              <a:rPr lang="zh-Hans" sz="1600" b="0" i="0" u="none" strike="noStrike">
                <a:highlight>
                  <a:srgbClr val="000000">
                    <a:alpha val="0"/>
                  </a:srgbClr>
                </a:highlight>
                <a:latin typeface="Simsun"/>
                <a:ea typeface="Simsun"/>
              </a:rPr>
              <a:t>吉尔吉斯斯坦, 2016</a:t>
            </a:r>
          </a:p>
          <a:p>
            <a:pPr marL="342900" indent="-342900" rtl="0">
              <a:buFont typeface="+mj-lt"/>
              <a:buAutoNum type="arabicPeriod"/>
              <a:defRPr/>
            </a:pPr>
            <a:r>
              <a:rPr lang="zh-Hans" sz="1600" b="0" i="0" u="none" strike="noStrike">
                <a:highlight>
                  <a:srgbClr val="000000">
                    <a:alpha val="0"/>
                  </a:srgbClr>
                </a:highlight>
                <a:latin typeface="Simsun"/>
                <a:ea typeface="Simsun"/>
              </a:rPr>
              <a:t>拉脱维亚, 2017</a:t>
            </a:r>
          </a:p>
          <a:p>
            <a:pPr marL="342900" indent="-342900" rtl="0">
              <a:buFont typeface="+mj-lt"/>
              <a:buAutoNum type="arabicPeriod"/>
              <a:defRPr/>
            </a:pPr>
            <a:r>
              <a:rPr lang="zh-Hans" sz="1600" b="0" i="0" u="none" strike="noStrike">
                <a:highlight>
                  <a:srgbClr val="000000">
                    <a:alpha val="0"/>
                  </a:srgbClr>
                </a:highlight>
                <a:latin typeface="Simsun"/>
                <a:ea typeface="Simsun"/>
              </a:rPr>
              <a:t>列支敦士登, 2017</a:t>
            </a:r>
          </a:p>
          <a:p>
            <a:pPr marL="342900" indent="-342900" rtl="0">
              <a:buFont typeface="+mj-lt"/>
              <a:buAutoNum type="arabicPeriod"/>
              <a:defRPr/>
            </a:pPr>
            <a:r>
              <a:rPr lang="zh-Hans" sz="1600" b="0" i="0" u="none" strike="noStrike">
                <a:highlight>
                  <a:srgbClr val="000000">
                    <a:alpha val="0"/>
                  </a:srgbClr>
                </a:highlight>
                <a:latin typeface="Simsun"/>
                <a:ea typeface="Simsun"/>
              </a:rPr>
              <a:t>斯洛文尼亚, 2017</a:t>
            </a:r>
          </a:p>
          <a:p>
            <a:pPr marL="342900" indent="-342900" rtl="0">
              <a:buFont typeface="+mj-lt"/>
              <a:buAutoNum type="arabicPeriod"/>
              <a:defRPr/>
            </a:pPr>
            <a:r>
              <a:rPr lang="zh-Hans" sz="1600" b="0" i="0" u="none" strike="noStrike">
                <a:highlight>
                  <a:srgbClr val="000000">
                    <a:alpha val="0"/>
                  </a:srgbClr>
                </a:highlight>
                <a:latin typeface="Simsun"/>
                <a:ea typeface="Simsun"/>
              </a:rPr>
              <a:t>瑞士, 2017</a:t>
            </a:r>
          </a:p>
          <a:p>
            <a:pPr marL="342900" indent="-342900" rtl="0">
              <a:buFont typeface="+mj-lt"/>
              <a:buAutoNum type="arabicPeriod"/>
              <a:defRPr/>
            </a:pPr>
            <a:r>
              <a:rPr lang="zh-Hans" sz="1600" b="0" i="0" u="none" strike="noStrike">
                <a:highlight>
                  <a:srgbClr val="000000">
                    <a:alpha val="0"/>
                  </a:srgbClr>
                </a:highlight>
                <a:latin typeface="Simsun"/>
                <a:ea typeface="Simsun"/>
              </a:rPr>
              <a:t>土库曼斯坦, 2016</a:t>
            </a:r>
          </a:p>
          <a:p>
            <a:pPr marL="342900" indent="-342900" rtl="0">
              <a:buFont typeface="+mj-lt"/>
              <a:buAutoNum type="arabicPeriod"/>
              <a:defRPr/>
            </a:pPr>
            <a:r>
              <a:rPr lang="zh-Hans" sz="1600" b="0" i="0" u="none" strike="noStrike">
                <a:highlight>
                  <a:srgbClr val="000000">
                    <a:alpha val="0"/>
                  </a:srgbClr>
                </a:highlight>
                <a:latin typeface="Simsun"/>
                <a:ea typeface="Simsun"/>
              </a:rPr>
              <a:t>摩尔多瓦, 2018</a:t>
            </a:r>
          </a:p>
          <a:p>
            <a:pPr marL="342900" indent="-342900" rtl="0">
              <a:buFont typeface="+mj-lt"/>
              <a:buAutoNum type="arabicPeriod"/>
              <a:defRPr/>
            </a:pPr>
            <a:r>
              <a:rPr lang="zh-Hans" sz="1600" b="0" i="0" u="none" strike="noStrike">
                <a:highlight>
                  <a:srgbClr val="000000">
                    <a:alpha val="0"/>
                  </a:srgbClr>
                </a:highlight>
                <a:latin typeface="Simsun"/>
                <a:ea typeface="Simsun"/>
              </a:rPr>
              <a:t>塞尔维亚, 2018</a:t>
            </a:r>
          </a:p>
          <a:p>
            <a:pPr marL="342900" indent="-342900" rtl="0">
              <a:buFont typeface="+mj-lt"/>
              <a:buAutoNum type="arabicPeriod"/>
              <a:defRPr/>
            </a:pPr>
            <a:r>
              <a:rPr lang="zh-Hans" sz="1600" b="0" i="0" u="none" strike="noStrike">
                <a:highlight>
                  <a:srgbClr val="000000">
                    <a:alpha val="0"/>
                  </a:srgbClr>
                </a:highlight>
                <a:latin typeface="Simsun"/>
                <a:ea typeface="Simsun"/>
              </a:rPr>
              <a:t>立陶宛, 2018</a:t>
            </a:r>
          </a:p>
          <a:p>
            <a:pPr marL="342900" indent="-342900" rtl="0">
              <a:buFont typeface="+mj-lt"/>
              <a:buAutoNum type="arabicPeriod"/>
              <a:defRPr/>
            </a:pPr>
            <a:r>
              <a:rPr lang="zh-Hans" sz="1600" b="0" i="0" u="none" strike="noStrike">
                <a:highlight>
                  <a:srgbClr val="000000">
                    <a:alpha val="0"/>
                  </a:srgbClr>
                </a:highlight>
                <a:latin typeface="Simsun"/>
                <a:ea typeface="Simsun"/>
              </a:rPr>
              <a:t>北马其顿, 2019年</a:t>
            </a:r>
          </a:p>
          <a:p>
            <a:pPr marL="342900" indent="-342900" rtl="0">
              <a:buFont typeface="+mj-lt"/>
              <a:buAutoNum type="arabicPeriod"/>
              <a:defRPr/>
            </a:pPr>
            <a:r>
              <a:rPr lang="zh-Hans" sz="1600" b="0" i="0" u="none" strike="noStrike">
                <a:highlight>
                  <a:srgbClr val="000000">
                    <a:alpha val="0"/>
                  </a:srgbClr>
                </a:highlight>
                <a:latin typeface="Simsun"/>
                <a:ea typeface="Simsun"/>
              </a:rPr>
              <a:t>黑山，2019年</a:t>
            </a:r>
          </a:p>
          <a:p>
            <a:pPr marL="342900" indent="-342900" rtl="0">
              <a:buFont typeface="+mj-lt"/>
              <a:buAutoNum type="arabicPeriod"/>
              <a:defRPr/>
            </a:pPr>
            <a:r>
              <a:rPr lang="zh-Hans" sz="1600" b="0" i="0" u="none" strike="noStrike">
                <a:highlight>
                  <a:srgbClr val="000000">
                    <a:alpha val="0"/>
                  </a:srgbClr>
                </a:highlight>
                <a:latin typeface="Simsun"/>
                <a:ea typeface="Simsun"/>
              </a:rPr>
              <a:t>格鲁吉亚，2019年</a:t>
            </a:r>
          </a:p>
          <a:p>
            <a:pPr marL="342900" indent="-342900" rtl="0">
              <a:buFont typeface="+mj-lt"/>
              <a:buAutoNum type="arabicPeriod"/>
              <a:defRPr/>
            </a:pPr>
            <a:r>
              <a:rPr lang="zh-Hans" sz="1600" b="0" i="0" u="none" strike="noStrike">
                <a:highlight>
                  <a:srgbClr val="000000">
                    <a:alpha val="0"/>
                  </a:srgbClr>
                </a:highlight>
                <a:latin typeface="Simsun"/>
                <a:ea typeface="Simsun"/>
              </a:rPr>
              <a:t>塔吉克斯坦, 2019年</a:t>
            </a:r>
          </a:p>
          <a:p>
            <a:pPr marL="342900" indent="-342900" rtl="0">
              <a:buFont typeface="+mj-lt"/>
              <a:buAutoNum type="arabicPeriod"/>
              <a:defRPr/>
            </a:pPr>
            <a:r>
              <a:rPr lang="zh-Hans" sz="1600" b="0" i="0" u="none" strike="noStrike">
                <a:highlight>
                  <a:srgbClr val="000000">
                    <a:alpha val="0"/>
                  </a:srgbClr>
                </a:highlight>
                <a:latin typeface="Simsun"/>
                <a:ea typeface="Simsun"/>
              </a:rPr>
              <a:t>德国，2019年</a:t>
            </a:r>
          </a:p>
          <a:p>
            <a:pPr marL="342900" indent="-342900" rtl="0">
              <a:buFont typeface="+mj-lt"/>
              <a:buAutoNum type="arabicPeriod"/>
              <a:defRPr/>
            </a:pPr>
            <a:r>
              <a:rPr lang="zh-Hans" sz="1600" b="0" i="0" u="none" strike="noStrike">
                <a:highlight>
                  <a:srgbClr val="000000">
                    <a:alpha val="0"/>
                  </a:srgbClr>
                </a:highlight>
                <a:latin typeface="Simsun"/>
                <a:ea typeface="Simsun"/>
              </a:rPr>
              <a:t>乌克兰，2021年</a:t>
            </a:r>
          </a:p>
          <a:p>
            <a:pPr marL="342900" indent="-342900" rtl="0">
              <a:buFont typeface="+mj-lt"/>
              <a:buAutoNum type="arabicPeriod"/>
              <a:defRPr/>
            </a:pPr>
            <a:r>
              <a:rPr lang="zh-Hans" sz="1600" b="0" i="0" u="none" strike="noStrike">
                <a:highlight>
                  <a:srgbClr val="000000">
                    <a:alpha val="0"/>
                  </a:srgbClr>
                </a:highlight>
                <a:latin typeface="Simsun"/>
                <a:ea typeface="Simsun"/>
              </a:rPr>
              <a:t>乌兹别克斯坦, 2022年</a:t>
            </a:r>
          </a:p>
        </p:txBody>
      </p:sp>
      <p:sp>
        <p:nvSpPr>
          <p:cNvPr id="14" name="TextBox 13">
            <a:extLst>
              <a:ext uri="{FF2B5EF4-FFF2-40B4-BE49-F238E27FC236}">
                <a16:creationId xmlns:a16="http://schemas.microsoft.com/office/drawing/2014/main" id="{7979B546-9D40-477E-8404-6622AA00494F}"/>
              </a:ext>
            </a:extLst>
          </p:cNvPr>
          <p:cNvSpPr txBox="1"/>
          <p:nvPr/>
        </p:nvSpPr>
        <p:spPr>
          <a:xfrm>
            <a:off x="9266103" y="1135876"/>
            <a:ext cx="3289781" cy="2587943"/>
          </a:xfrm>
          <a:prstGeom prst="roundRect">
            <a:avLst/>
          </a:prstGeom>
          <a:noFill/>
        </p:spPr>
        <p:txBody>
          <a:bodyPr wrap="square" lIns="91440" tIns="45720" rIns="91440" bIns="45720" anchor="t">
            <a:noAutofit/>
          </a:bodyPr>
          <a:lstStyle/>
          <a:p>
            <a:pPr algn="ctr" rtl="0">
              <a:defRPr/>
            </a:pPr>
            <a:r>
              <a:rPr lang="zh-Hans" sz="1800" b="1" i="0" u="none" strike="noStrike">
                <a:highlight>
                  <a:srgbClr val="000000">
                    <a:alpha val="0"/>
                  </a:srgbClr>
                </a:highlight>
                <a:latin typeface="Simsun"/>
                <a:ea typeface="Simsun"/>
              </a:rPr>
              <a:t>筹备中的JEEs (4)</a:t>
            </a:r>
          </a:p>
          <a:p>
            <a:pPr algn="r" rtl="1">
              <a:defRPr/>
            </a:pPr>
            <a:endParaRPr lang="en-US" sz="1600"/>
          </a:p>
          <a:p>
            <a:pPr marL="581025" indent="-285750" rtl="0">
              <a:buFont typeface="Arial" panose="020B0604020202020204" pitchFamily="34" charset="0"/>
              <a:buChar char="•"/>
              <a:defRPr/>
            </a:pPr>
            <a:r>
              <a:rPr lang="zh-Hans" sz="1600" b="0" i="0" u="none" strike="noStrike">
                <a:highlight>
                  <a:srgbClr val="000000">
                    <a:alpha val="0"/>
                  </a:srgbClr>
                </a:highlight>
                <a:latin typeface="Simsun"/>
                <a:ea typeface="Simsun"/>
              </a:rPr>
              <a:t>阿塞拜疆</a:t>
            </a:r>
            <a:endParaRPr lang="en-US" sz="1600">
              <a:cs typeface="Calibri"/>
            </a:endParaRPr>
          </a:p>
          <a:p>
            <a:pPr marL="581025" indent="-285750" rtl="0">
              <a:buFont typeface="Arial" panose="020B0604020202020204" pitchFamily="34" charset="0"/>
              <a:buChar char="•"/>
              <a:defRPr/>
            </a:pPr>
            <a:r>
              <a:rPr lang="zh-Hans" sz="1600" b="0" i="0" u="none" strike="noStrike">
                <a:highlight>
                  <a:srgbClr val="000000">
                    <a:alpha val="0"/>
                  </a:srgbClr>
                </a:highlight>
                <a:latin typeface="Simsun"/>
                <a:ea typeface="Simsun"/>
              </a:rPr>
              <a:t>波黑</a:t>
            </a:r>
            <a:endParaRPr lang="en-US" sz="1600">
              <a:cs typeface="Calibri"/>
            </a:endParaRPr>
          </a:p>
          <a:p>
            <a:pPr marL="581025" indent="-285750" rtl="0">
              <a:buFont typeface="Arial" panose="020B0604020202020204" pitchFamily="34" charset="0"/>
              <a:buChar char="•"/>
              <a:defRPr/>
            </a:pPr>
            <a:r>
              <a:rPr lang="zh-Hans" sz="1600" b="0" i="0" u="none" strike="noStrike">
                <a:highlight>
                  <a:srgbClr val="000000">
                    <a:alpha val="0"/>
                  </a:srgbClr>
                </a:highlight>
                <a:latin typeface="Simsun"/>
                <a:ea typeface="Simsun"/>
                <a:cs typeface="+mn-lt"/>
              </a:rPr>
              <a:t>吉尔吉斯斯坦</a:t>
            </a:r>
            <a:endParaRPr lang="en-US" sz="1600"/>
          </a:p>
          <a:p>
            <a:pPr marL="581025" indent="-285750" rtl="0">
              <a:buFont typeface="Arial" panose="020B0604020202020204" pitchFamily="34" charset="0"/>
              <a:buChar char="•"/>
              <a:defRPr/>
            </a:pPr>
            <a:r>
              <a:rPr lang="zh-Hans" sz="1600" b="0" i="0" u="none" strike="noStrike">
                <a:highlight>
                  <a:srgbClr val="000000">
                    <a:alpha val="0"/>
                  </a:srgbClr>
                </a:highlight>
                <a:latin typeface="Simsun"/>
                <a:ea typeface="Simsun"/>
              </a:rPr>
              <a:t>荷兰</a:t>
            </a:r>
            <a:endParaRPr lang="en-US" sz="1600">
              <a:cs typeface="Calibri"/>
            </a:endParaRPr>
          </a:p>
          <a:p>
            <a:pPr marL="581025" indent="-285750" rtl="0">
              <a:buFont typeface="Arial" panose="020B0604020202020204" pitchFamily="34" charset="0"/>
              <a:buChar char="•"/>
              <a:defRPr/>
            </a:pPr>
            <a:r>
              <a:rPr lang="zh-Hans" sz="1600" b="0" i="0" u="none" strike="noStrike">
                <a:highlight>
                  <a:srgbClr val="000000">
                    <a:alpha val="0"/>
                  </a:srgbClr>
                </a:highlight>
                <a:latin typeface="Simsun"/>
                <a:ea typeface="Simsun"/>
              </a:rPr>
              <a:t>瑞典</a:t>
            </a:r>
            <a:endParaRPr lang="en-US" sz="1600">
              <a:cs typeface="Calibri"/>
            </a:endParaRPr>
          </a:p>
          <a:p>
            <a:pPr marL="285750" indent="-285750" algn="r" rtl="1">
              <a:buFont typeface="Wingdings" panose="05000000000000000000" pitchFamily="2" charset="2"/>
              <a:buChar char="ü"/>
              <a:defRPr/>
            </a:pPr>
            <a:endParaRPr lang="en-US" sz="1600"/>
          </a:p>
          <a:p>
            <a:pPr marL="285750" indent="-285750" algn="r" rtl="1">
              <a:buFont typeface="Wingdings" panose="05000000000000000000" pitchFamily="2" charset="2"/>
              <a:buChar char="ü"/>
              <a:defRPr/>
            </a:pPr>
            <a:endParaRPr lang="en-US" sz="1600"/>
          </a:p>
        </p:txBody>
      </p:sp>
      <p:sp>
        <p:nvSpPr>
          <p:cNvPr id="16" name="Rounded Rectangle 8">
            <a:extLst>
              <a:ext uri="{FF2B5EF4-FFF2-40B4-BE49-F238E27FC236}">
                <a16:creationId xmlns:a16="http://schemas.microsoft.com/office/drawing/2014/main" id="{07A16D58-FCA7-48BA-85DA-1F9610B9F24C}"/>
              </a:ext>
            </a:extLst>
          </p:cNvPr>
          <p:cNvSpPr/>
          <p:nvPr/>
        </p:nvSpPr>
        <p:spPr>
          <a:xfrm>
            <a:off x="190153" y="3075262"/>
            <a:ext cx="2544338" cy="240403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tLang="en-US" i="1">
              <a:solidFill>
                <a:schemeClr val="tx1"/>
              </a:solidFill>
            </a:endParaRPr>
          </a:p>
          <a:p>
            <a:pPr algn="ctr"/>
            <a:endParaRPr lang="en-US" altLang="en-US" i="1">
              <a:solidFill>
                <a:schemeClr val="tx1"/>
              </a:solidFill>
            </a:endParaRPr>
          </a:p>
          <a:p>
            <a:pPr algn="ctr"/>
            <a:endParaRPr lang="en-US" altLang="en-US">
              <a:solidFill>
                <a:schemeClr val="tx1"/>
              </a:solidFill>
            </a:endParaRPr>
          </a:p>
          <a:p>
            <a:pPr algn="ctr"/>
            <a:endParaRPr lang="en-US" altLang="en-US">
              <a:solidFill>
                <a:schemeClr val="tx1"/>
              </a:solidFill>
            </a:endParaRPr>
          </a:p>
          <a:p>
            <a:pPr algn="ctr"/>
            <a:endParaRPr lang="en-US" altLang="en-US">
              <a:solidFill>
                <a:schemeClr val="tx1"/>
              </a:solidFill>
            </a:endParaRPr>
          </a:p>
          <a:p>
            <a:pPr algn="ctr"/>
            <a:endParaRPr lang="en-US" altLang="en-US">
              <a:solidFill>
                <a:schemeClr val="tx1"/>
              </a:solidFill>
            </a:endParaRPr>
          </a:p>
          <a:p>
            <a:pPr algn="ctr"/>
            <a:endParaRPr lang="en-US" altLang="en-US">
              <a:solidFill>
                <a:schemeClr val="tx1"/>
              </a:solidFill>
            </a:endParaRPr>
          </a:p>
          <a:p>
            <a:pPr algn="ctr"/>
            <a:endParaRPr lang="en-US" altLang="en-US" sz="1600">
              <a:solidFill>
                <a:schemeClr val="tx1"/>
              </a:solidFill>
            </a:endParaRPr>
          </a:p>
          <a:p>
            <a:pPr rtl="0"/>
            <a:r>
              <a:rPr lang="zh-Hans" sz="1600" b="0" i="0" u="none" strike="noStrike">
                <a:solidFill>
                  <a:srgbClr val="000000"/>
                </a:solidFill>
                <a:highlight>
                  <a:srgbClr val="000000">
                    <a:alpha val="0"/>
                  </a:srgbClr>
                </a:highlight>
                <a:latin typeface="Simsun"/>
                <a:ea typeface="Simsun"/>
              </a:rPr>
              <a:t>对2021年世卫组织欧洲区域JEE的发现和建议进行的近期分析：</a:t>
            </a:r>
            <a:endParaRPr lang="en-US" altLang="en-US" i="1">
              <a:solidFill>
                <a:schemeClr val="tx1"/>
              </a:solidFill>
            </a:endParaRPr>
          </a:p>
          <a:p>
            <a:pPr rtl="0"/>
            <a:r>
              <a:rPr lang="zh-Hans" sz="1600" b="0" i="0" u="none" strike="noStrike">
                <a:solidFill>
                  <a:srgbClr val="0099DD"/>
                </a:solidFill>
                <a:highlight>
                  <a:srgbClr val="000000">
                    <a:alpha val="0"/>
                  </a:srgbClr>
                </a:highlight>
                <a:latin typeface="Simsun"/>
                <a:ea typeface="Simsun"/>
                <a:hlinkClick r:id="rId5">
                  <a:extLst>
                    <a:ext uri="{A12FA001-AC4F-418D-AE19-62706E023703}">
                      <ahyp:hlinkClr xmlns:ahyp="http://schemas.microsoft.com/office/drawing/2018/hyperlinkcolor" val="tx"/>
                    </a:ext>
                  </a:extLst>
                </a:hlinkClick>
              </a:rPr>
              <a:t>WER27september2021-specialissue-eng-fre.pdf (who.int)</a:t>
            </a:r>
            <a:r>
              <a:rPr lang="zh-Hans" sz="1800" b="0" i="1" u="none" strike="noStrike">
                <a:solidFill>
                  <a:srgbClr val="000000"/>
                </a:solidFill>
                <a:highlight>
                  <a:srgbClr val="000000">
                    <a:alpha val="0"/>
                  </a:srgbClr>
                </a:highlight>
                <a:latin typeface="Simsun"/>
                <a:ea typeface="Simsun"/>
              </a:rPr>
              <a:t>			</a:t>
            </a:r>
          </a:p>
          <a:p>
            <a:pPr algn="r"/>
            <a:endParaRPr lang="en-US" altLang="en-US" i="1">
              <a:solidFill>
                <a:schemeClr val="tx1"/>
              </a:solidFill>
            </a:endParaRPr>
          </a:p>
          <a:p>
            <a:pPr algn="r"/>
            <a:endParaRPr lang="en-US" altLang="en-US" i="1">
              <a:solidFill>
                <a:schemeClr val="tx1"/>
              </a:solidFill>
            </a:endParaRPr>
          </a:p>
          <a:p>
            <a:pPr algn="r"/>
            <a:endParaRPr lang="en-US" altLang="en-US" i="1">
              <a:solidFill>
                <a:schemeClr val="tx1"/>
              </a:solidFill>
            </a:endParaRPr>
          </a:p>
          <a:p>
            <a:pPr algn="r"/>
            <a:endParaRPr lang="en-US" altLang="en-US" i="1">
              <a:solidFill>
                <a:schemeClr val="tx1"/>
              </a:solidFill>
            </a:endParaRPr>
          </a:p>
          <a:p>
            <a:pPr algn="r"/>
            <a:endParaRPr lang="en-US" altLang="en-US" i="1">
              <a:solidFill>
                <a:schemeClr val="tx1"/>
              </a:solidFill>
            </a:endParaRPr>
          </a:p>
          <a:p>
            <a:pPr algn="r"/>
            <a:r>
              <a:rPr lang="en-US" altLang="en-US" i="1">
                <a:solidFill>
                  <a:schemeClr val="tx1"/>
                </a:solidFill>
              </a:rPr>
              <a:t>				</a:t>
            </a:r>
            <a:endParaRPr lang="en-US" b="1">
              <a:solidFill>
                <a:schemeClr val="tx1"/>
              </a:solidFill>
            </a:endParaRPr>
          </a:p>
        </p:txBody>
      </p:sp>
    </p:spTree>
    <p:extLst>
      <p:ext uri="{BB962C8B-B14F-4D97-AF65-F5344CB8AC3E}">
        <p14:creationId xmlns:p14="http://schemas.microsoft.com/office/powerpoint/2010/main" val="166949888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04D74-0123-4D93-914E-0DE37413194E}"/>
              </a:ext>
            </a:extLst>
          </p:cNvPr>
          <p:cNvSpPr>
            <a:spLocks noGrp="1"/>
          </p:cNvSpPr>
          <p:nvPr>
            <p:ph type="title"/>
          </p:nvPr>
        </p:nvSpPr>
        <p:spPr/>
        <p:txBody>
          <a:bodyPr>
            <a:noAutofit/>
          </a:bodyPr>
          <a:lstStyle/>
          <a:p>
            <a:pPr rtl="0"/>
            <a:r>
              <a:rPr lang="zh-Hans" sz="3200" b="0" i="0" u="none" strike="noStrike">
                <a:highlight>
                  <a:srgbClr val="000000">
                    <a:alpha val="0"/>
                  </a:srgbClr>
                </a:highlight>
                <a:latin typeface="Simsun"/>
                <a:ea typeface="Simsun"/>
              </a:rPr>
              <a:t>国家卫生安全行动计划(NAPHS)</a:t>
            </a:r>
          </a:p>
        </p:txBody>
      </p:sp>
      <p:sp>
        <p:nvSpPr>
          <p:cNvPr id="3" name="Content Placeholder 2">
            <a:extLst>
              <a:ext uri="{FF2B5EF4-FFF2-40B4-BE49-F238E27FC236}">
                <a16:creationId xmlns:a16="http://schemas.microsoft.com/office/drawing/2014/main" id="{52BC38A8-6256-4ACC-9C93-CA3716232140}"/>
              </a:ext>
            </a:extLst>
          </p:cNvPr>
          <p:cNvSpPr>
            <a:spLocks noGrp="1"/>
          </p:cNvSpPr>
          <p:nvPr>
            <p:ph idx="1"/>
          </p:nvPr>
        </p:nvSpPr>
        <p:spPr>
          <a:xfrm>
            <a:off x="457200" y="1402080"/>
            <a:ext cx="5638800" cy="4172903"/>
          </a:xfrm>
        </p:spPr>
        <p:txBody>
          <a:bodyPr>
            <a:noAutofit/>
          </a:bodyPr>
          <a:lstStyle/>
          <a:p>
            <a:pPr marL="0" indent="0" algn="ctr" rtl="0">
              <a:buNone/>
            </a:pPr>
            <a:r>
              <a:rPr lang="zh-Hans" sz="2800" b="0" i="0" u="none" strike="noStrike" dirty="0">
                <a:solidFill>
                  <a:srgbClr val="3C4245"/>
                </a:solidFill>
                <a:highlight>
                  <a:srgbClr val="000000">
                    <a:alpha val="0"/>
                  </a:srgbClr>
                </a:highlight>
                <a:latin typeface="Simsun"/>
                <a:ea typeface="Simsun"/>
              </a:rPr>
              <a:t>国家卫生安全行动计划(NAPHS)：</a:t>
            </a:r>
          </a:p>
          <a:p>
            <a:pPr marL="0" indent="0" algn="ctr">
              <a:buNone/>
            </a:pPr>
            <a:endParaRPr lang="en-US" sz="2800" b="0" i="0" dirty="0">
              <a:solidFill>
                <a:srgbClr val="3C4245"/>
              </a:solidFill>
              <a:effectLst/>
              <a:latin typeface="Arial" panose="020B0604020202020204" pitchFamily="34" charset="0"/>
            </a:endParaRPr>
          </a:p>
          <a:p>
            <a:pPr marL="0" indent="0" algn="ctr">
              <a:buNone/>
            </a:pPr>
            <a:endParaRPr lang="en-US" sz="2800" b="0" i="0" dirty="0">
              <a:solidFill>
                <a:srgbClr val="3C4245"/>
              </a:solidFill>
              <a:effectLst/>
              <a:latin typeface="Arial" panose="020B0604020202020204" pitchFamily="34" charset="0"/>
            </a:endParaRPr>
          </a:p>
          <a:p>
            <a:pPr marL="0" indent="0" algn="ctr" rtl="0">
              <a:spcBef>
                <a:spcPct val="0"/>
              </a:spcBef>
              <a:buNone/>
            </a:pPr>
            <a:r>
              <a:rPr lang="zh-Hans" sz="2800" b="1" i="0" u="none" strike="noStrike" dirty="0">
                <a:solidFill>
                  <a:srgbClr val="00205C"/>
                </a:solidFill>
                <a:highlight>
                  <a:srgbClr val="000000">
                    <a:alpha val="0"/>
                  </a:srgbClr>
                </a:highlight>
                <a:latin typeface="Simsun"/>
                <a:ea typeface="Simsun"/>
              </a:rPr>
              <a:t>这是一个由国家主导的、多年规划过程，可以加速IHR核心能力建设的实施，并以 “一个健康 ”为基础</a:t>
            </a:r>
            <a:r>
              <a:rPr lang="zh-CN" altLang="en-US" sz="2800" b="1" dirty="0">
                <a:solidFill>
                  <a:srgbClr val="00205C"/>
                </a:solidFill>
                <a:highlight>
                  <a:srgbClr val="000000">
                    <a:alpha val="0"/>
                  </a:srgbClr>
                </a:highlight>
                <a:latin typeface="Simsun"/>
                <a:ea typeface="Simsun"/>
              </a:rPr>
              <a:t>，采取全风险覆盖、</a:t>
            </a:r>
            <a:r>
              <a:rPr lang="zh-Hans" sz="2800" b="1" i="0" u="none" strike="noStrike" dirty="0">
                <a:solidFill>
                  <a:srgbClr val="00205C"/>
                </a:solidFill>
                <a:highlight>
                  <a:srgbClr val="000000">
                    <a:alpha val="0"/>
                  </a:srgbClr>
                </a:highlight>
                <a:latin typeface="Simsun"/>
                <a:ea typeface="Simsun"/>
              </a:rPr>
              <a:t>全政府的方法。确定国家卫生安全的优先事项，将各部门聚集在一起，识别合作伙伴，并为卫生安全能力发展分配资源。</a:t>
            </a:r>
          </a:p>
          <a:p>
            <a:pPr marL="0" indent="0" algn="ctr">
              <a:buNone/>
            </a:pPr>
            <a:endParaRPr lang="en-US" sz="2800" dirty="0">
              <a:solidFill>
                <a:srgbClr val="3C4245"/>
              </a:solidFill>
              <a:latin typeface="Arial" panose="020B0604020202020204" pitchFamily="34" charset="0"/>
            </a:endParaRPr>
          </a:p>
          <a:p>
            <a:pPr marL="0" indent="0" algn="ctr">
              <a:buNone/>
            </a:pPr>
            <a:endParaRPr lang="en-US" sz="1100" dirty="0"/>
          </a:p>
          <a:p>
            <a:pPr marL="0" indent="0" algn="ctr" rtl="0">
              <a:buNone/>
            </a:pPr>
            <a:r>
              <a:rPr lang="zh-Hans" sz="1100" b="0" i="0" u="none" strike="noStrike" dirty="0">
                <a:highlight>
                  <a:srgbClr val="000000">
                    <a:alpha val="0"/>
                  </a:srgbClr>
                </a:highlight>
                <a:latin typeface="Simsun"/>
                <a:ea typeface="Simsun"/>
              </a:rPr>
              <a:t>定义摘自：</a:t>
            </a:r>
          </a:p>
          <a:p>
            <a:pPr marL="0" indent="0" algn="ctr" rtl="0">
              <a:buNone/>
            </a:pPr>
            <a:r>
              <a:rPr lang="zh-Hans" sz="1200" b="1" i="0" u="none" strike="noStrike" dirty="0">
                <a:solidFill>
                  <a:srgbClr val="3C4245"/>
                </a:solidFill>
                <a:highlight>
                  <a:srgbClr val="000000">
                    <a:alpha val="0"/>
                  </a:srgbClr>
                </a:highlight>
                <a:latin typeface="Simsun"/>
                <a:ea typeface="Simsun"/>
              </a:rPr>
              <a:t>NAPHS for ALL - NAPHS国家实施指南</a:t>
            </a:r>
          </a:p>
          <a:p>
            <a:pPr marL="0" indent="0" algn="ctr" rtl="0">
              <a:buNone/>
            </a:pPr>
            <a:r>
              <a:rPr lang="zh-Hans" sz="1000" b="0" i="0" u="none" strike="noStrike" dirty="0">
                <a:highlight>
                  <a:srgbClr val="000000">
                    <a:alpha val="0"/>
                  </a:srgbClr>
                </a:highlight>
                <a:latin typeface="Simsun"/>
                <a:ea typeface="Simsun"/>
              </a:rPr>
              <a:t>https://www.who.int/publications/i/item/naphs-for-all---a-country-implementation-guide-for-naphs</a:t>
            </a:r>
          </a:p>
          <a:p>
            <a:pPr marL="129959" indent="-129959">
              <a:buFont typeface="Arial" panose="020B0604020202020204" pitchFamily="34" charset="0"/>
              <a:buChar char="•"/>
            </a:pPr>
            <a:endParaRPr lang="en-US" sz="1600" dirty="0"/>
          </a:p>
        </p:txBody>
      </p:sp>
      <p:sp>
        <p:nvSpPr>
          <p:cNvPr id="5" name="Slide Number Placeholder 4">
            <a:extLst>
              <a:ext uri="{FF2B5EF4-FFF2-40B4-BE49-F238E27FC236}">
                <a16:creationId xmlns:a16="http://schemas.microsoft.com/office/drawing/2014/main" id="{3E6DCAB4-5AB5-46C8-8321-93A27D5B9B4B}"/>
              </a:ext>
            </a:extLst>
          </p:cNvPr>
          <p:cNvSpPr>
            <a:spLocks noGrp="1"/>
          </p:cNvSpPr>
          <p:nvPr>
            <p:ph type="sldNum" sz="quarter" idx="12"/>
          </p:nvPr>
        </p:nvSpPr>
        <p:spPr/>
        <p:txBody>
          <a:bodyPr>
            <a:noAutofit/>
          </a:bodyPr>
          <a:lstStyle/>
          <a:p>
            <a:pPr rtl="0"/>
            <a:r>
              <a:rPr lang="zh-Hans" sz="900" b="0" i="0" u="none" strike="noStrike">
                <a:highlight>
                  <a:srgbClr val="000000">
                    <a:alpha val="0"/>
                  </a:srgbClr>
                </a:highlight>
                <a:latin typeface="Simsun"/>
                <a:ea typeface="Simsun"/>
              </a:rPr>
              <a:t>8</a:t>
            </a:r>
            <a:endParaRPr lang="en-US"/>
          </a:p>
        </p:txBody>
      </p:sp>
      <p:pic>
        <p:nvPicPr>
          <p:cNvPr id="6" name="Picture 2">
            <a:extLst>
              <a:ext uri="{FF2B5EF4-FFF2-40B4-BE49-F238E27FC236}">
                <a16:creationId xmlns:a16="http://schemas.microsoft.com/office/drawing/2014/main" id="{8E4B8084-2958-4678-98CF-3F4024848E3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78267" y="2142561"/>
            <a:ext cx="4515239" cy="44833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C87C1C4-564A-4739-87F9-EF357F06C7DA}"/>
              </a:ext>
            </a:extLst>
          </p:cNvPr>
          <p:cNvPicPr>
            <a:picLocks noChangeAspect="1"/>
          </p:cNvPicPr>
          <p:nvPr/>
        </p:nvPicPr>
        <p:blipFill>
          <a:blip r:embed="rId4"/>
          <a:stretch>
            <a:fillRect/>
          </a:stretch>
        </p:blipFill>
        <p:spPr>
          <a:xfrm>
            <a:off x="9724670" y="233927"/>
            <a:ext cx="2010129" cy="25077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7635159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14D3E-18B4-452F-83F9-5684426FF2BE}"/>
              </a:ext>
            </a:extLst>
          </p:cNvPr>
          <p:cNvSpPr>
            <a:spLocks noGrp="1"/>
          </p:cNvSpPr>
          <p:nvPr>
            <p:ph type="title"/>
          </p:nvPr>
        </p:nvSpPr>
        <p:spPr>
          <a:xfrm>
            <a:off x="414527" y="-321769"/>
            <a:ext cx="8046721" cy="1033819"/>
          </a:xfrm>
        </p:spPr>
        <p:txBody>
          <a:bodyPr vert="horz" lIns="91440" tIns="45720" rIns="91440" bIns="45720" rtlCol="0" anchor="b">
            <a:noAutofit/>
          </a:bodyPr>
          <a:lstStyle/>
          <a:p>
            <a:pPr rtl="0">
              <a:lnSpc>
                <a:spcPct val="90000"/>
              </a:lnSpc>
            </a:pPr>
            <a:r>
              <a:rPr lang="zh-Hans" sz="4000" b="1" i="0" u="none" strike="noStrike" kern="1200">
                <a:highlight>
                  <a:srgbClr val="000000">
                    <a:alpha val="0"/>
                  </a:srgbClr>
                </a:highlight>
                <a:latin typeface="Simsun"/>
                <a:ea typeface="Simsun"/>
                <a:cs typeface="+mj-cs"/>
              </a:rPr>
              <a:t>世卫组织2022-2026年NAPHS战略</a:t>
            </a:r>
          </a:p>
        </p:txBody>
      </p:sp>
      <p:sp>
        <p:nvSpPr>
          <p:cNvPr id="4" name="Slide Number Placeholder 3">
            <a:extLst>
              <a:ext uri="{FF2B5EF4-FFF2-40B4-BE49-F238E27FC236}">
                <a16:creationId xmlns:a16="http://schemas.microsoft.com/office/drawing/2014/main" id="{63EFA781-F457-448D-B243-3029F6B705B8}"/>
              </a:ext>
            </a:extLst>
          </p:cNvPr>
          <p:cNvSpPr>
            <a:spLocks noGrp="1"/>
          </p:cNvSpPr>
          <p:nvPr>
            <p:ph type="sldNum" sz="quarter" idx="12"/>
          </p:nvPr>
        </p:nvSpPr>
        <p:spPr>
          <a:xfrm>
            <a:off x="8610600" y="6356350"/>
            <a:ext cx="2743200" cy="365125"/>
          </a:xfrm>
        </p:spPr>
        <p:txBody>
          <a:bodyPr vert="horz" lIns="91440" tIns="45720" rIns="91440" bIns="45720" rtlCol="0" anchor="ctr">
            <a:noAutofit/>
          </a:bodyPr>
          <a:lstStyle/>
          <a:p>
            <a:pPr marL="0" marR="0" lvl="0" indent="0" algn="r" defTabSz="914400" rtl="0" eaLnBrk="1" fontAlgn="auto" latinLnBrk="0" hangingPunct="1">
              <a:lnSpc>
                <a:spcPct val="100000"/>
              </a:lnSpc>
              <a:spcBef>
                <a:spcPct val="0"/>
              </a:spcBef>
              <a:spcAft>
                <a:spcPts val="600"/>
              </a:spcAft>
              <a:buClrTx/>
              <a:buSzTx/>
              <a:buFontTx/>
              <a:buNone/>
              <a:defRPr/>
            </a:pPr>
            <a:r>
              <a:rPr kumimoji="0" lang="zh-Hans" sz="1200" b="0" i="0" u="none" strike="noStrike" kern="1200" cap="none" spc="0" normalizeH="0" baseline="0" noProof="0">
                <a:solidFill>
                  <a:srgbClr val="898989"/>
                </a:solidFill>
                <a:highlight>
                  <a:srgbClr val="000000">
                    <a:alpha val="0"/>
                  </a:srgbClr>
                </a:highlight>
                <a:uLnTx/>
                <a:uFillTx/>
                <a:latin typeface="Simsun"/>
                <a:ea typeface="Simsun"/>
                <a:cs typeface="+mn-cs"/>
              </a:rPr>
              <a:t>9</a:t>
            </a: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Content Placeholder 5">
            <a:extLst>
              <a:ext uri="{FF2B5EF4-FFF2-40B4-BE49-F238E27FC236}">
                <a16:creationId xmlns:a16="http://schemas.microsoft.com/office/drawing/2014/main" id="{3C9789FC-51B8-2B14-9DB3-0C9D6C78B202}"/>
              </a:ext>
            </a:extLst>
          </p:cNvPr>
          <p:cNvSpPr>
            <a:spLocks noGrp="1"/>
          </p:cNvSpPr>
          <p:nvPr>
            <p:ph idx="1"/>
          </p:nvPr>
        </p:nvSpPr>
        <p:spPr>
          <a:xfrm>
            <a:off x="381000" y="2096049"/>
            <a:ext cx="10972800" cy="2194597"/>
          </a:xfrm>
        </p:spPr>
        <p:txBody>
          <a:bodyPr>
            <a:noAutofit/>
          </a:bodyPr>
          <a:lstStyle/>
          <a:p>
            <a:pPr marL="0" indent="0" algn="ctr">
              <a:buNone/>
            </a:pPr>
            <a:endParaRPr lang="en-US">
              <a:solidFill>
                <a:srgbClr val="3C4245"/>
              </a:solidFill>
              <a:latin typeface="Arial" panose="020B060402020202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defRPr/>
            </a:pPr>
            <a:r>
              <a:rPr lang="zh-Hans" sz="2400" b="0" i="0" u="none" strike="noStrike">
                <a:solidFill>
                  <a:srgbClr val="3C4245"/>
                </a:solidFill>
                <a:highlight>
                  <a:srgbClr val="000000">
                    <a:alpha val="0"/>
                  </a:srgbClr>
                </a:highlight>
                <a:latin typeface="Simsun"/>
                <a:ea typeface="Simsun"/>
              </a:rPr>
              <a:t>该战略确定了世卫组织的愿景和框架，以支持国家利益相关者在2022-2026年间</a:t>
            </a:r>
            <a:r>
              <a:rPr lang="zh-Hans" sz="2400" b="1" i="0" u="none" strike="noStrike">
                <a:solidFill>
                  <a:srgbClr val="3C4245"/>
                </a:solidFill>
                <a:highlight>
                  <a:srgbClr val="000000">
                    <a:alpha val="0"/>
                  </a:srgbClr>
                </a:highlight>
                <a:latin typeface="Simsun"/>
                <a:ea typeface="Simsun"/>
              </a:rPr>
              <a:t> 加快制定、实施和监测国家卫生安全行动计划</a:t>
            </a:r>
            <a:r>
              <a:rPr lang="zh-Hans" sz="2400" b="0" i="0" u="none" strike="noStrike">
                <a:solidFill>
                  <a:srgbClr val="3C4245"/>
                </a:solidFill>
                <a:highlight>
                  <a:srgbClr val="000000">
                    <a:alpha val="0"/>
                  </a:srgbClr>
                </a:highlight>
                <a:latin typeface="Simsun"/>
                <a:ea typeface="Simsun"/>
              </a:rPr>
              <a:t>（NAPHS）。</a:t>
            </a:r>
          </a:p>
          <a:p>
            <a:pPr marL="0" indent="0" algn="ctr">
              <a:buNone/>
            </a:pPr>
            <a:endParaRPr lang="en-US" sz="1600"/>
          </a:p>
        </p:txBody>
      </p:sp>
      <p:sp>
        <p:nvSpPr>
          <p:cNvPr id="7" name="Rectangle 6">
            <a:extLst>
              <a:ext uri="{FF2B5EF4-FFF2-40B4-BE49-F238E27FC236}">
                <a16:creationId xmlns:a16="http://schemas.microsoft.com/office/drawing/2014/main" id="{D6000C63-AB55-A8A1-8462-3F4866535D5C}"/>
              </a:ext>
            </a:extLst>
          </p:cNvPr>
          <p:cNvSpPr/>
          <p:nvPr/>
        </p:nvSpPr>
        <p:spPr>
          <a:xfrm>
            <a:off x="830094" y="2503252"/>
            <a:ext cx="10583693" cy="2133600"/>
          </a:xfrm>
          <a:prstGeom prst="rect">
            <a:avLst/>
          </a:prstGeom>
          <a:ln>
            <a:noFill/>
          </a:ln>
        </p:spPr>
        <p:txBody>
          <a:bodyPr wrap="square" numCol="2" rtlCol="0" anchor="ctr">
            <a:noAutofit/>
          </a:bodyPr>
          <a:lstStyle/>
          <a:p>
            <a:pPr marL="0" marR="0" lvl="0" indent="0" algn="l" defTabSz="914400" rtl="0" eaLnBrk="1" fontAlgn="auto" latinLnBrk="0" hangingPunct="1">
              <a:lnSpc>
                <a:spcPct val="100000"/>
              </a:lnSpc>
              <a:spcBef>
                <a:spcPct val="0"/>
              </a:spcBef>
              <a:spcAft>
                <a:spcPts val="1200"/>
              </a:spcAft>
              <a:buClrTx/>
              <a:buSzTx/>
              <a:buFontTx/>
              <a:buNone/>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Tree>
    <p:extLst>
      <p:ext uri="{BB962C8B-B14F-4D97-AF65-F5344CB8AC3E}">
        <p14:creationId xmlns:p14="http://schemas.microsoft.com/office/powerpoint/2010/main" val="326723461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3.1.12"/>
  <p:tag name="AS_OS" val="Unix 5.4.209.116"/>
  <p:tag name="AS_RELEASE_DATE" val="2020.03.14"/>
  <p:tag name="AS_TITLE" val="Aspose.Slides for .NET Standard 2.0"/>
  <p:tag name="AS_VERSION" val="20.3"/>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8.xml><?xml version="1.0" encoding="utf-8"?>
<p:tagLst xmlns:a="http://schemas.openxmlformats.org/drawingml/2006/main" xmlns:r="http://schemas.openxmlformats.org/officeDocument/2006/relationships" xmlns:p="http://schemas.openxmlformats.org/presentationml/2006/main">
  <p:tag name="SHAPENAME" val="Subtitle"/>
</p:tagLst>
</file>

<file path=ppt/tags/tag149.xml><?xml version="1.0" encoding="utf-8"?>
<p:tagLst xmlns:a="http://schemas.openxmlformats.org/drawingml/2006/main" xmlns:r="http://schemas.openxmlformats.org/officeDocument/2006/relationships" xmlns:p="http://schemas.openxmlformats.org/presentationml/2006/main">
  <p:tag name="SHAPENAME" val="Titl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NAME" val="ACET"/>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xml><?xml version="1.0" encoding="utf-8"?>
<p:tagLst xmlns:a="http://schemas.openxmlformats.org/drawingml/2006/main" xmlns:r="http://schemas.openxmlformats.org/officeDocument/2006/relationships" xmlns:p="http://schemas.openxmlformats.org/presentationml/2006/main">
  <p:tag name="ANGLE" val="5"/>
</p:tagLst>
</file>

<file path=ppt/tags/tag161.xml><?xml version="1.0" encoding="utf-8"?>
<p:tagLst xmlns:a="http://schemas.openxmlformats.org/drawingml/2006/main" xmlns:r="http://schemas.openxmlformats.org/officeDocument/2006/relationships" xmlns:p="http://schemas.openxmlformats.org/presentationml/2006/main">
  <p:tag name="ANGLE" val="5"/>
</p:tagLst>
</file>

<file path=ppt/tags/tag162.xml><?xml version="1.0" encoding="utf-8"?>
<p:tagLst xmlns:a="http://schemas.openxmlformats.org/drawingml/2006/main" xmlns:r="http://schemas.openxmlformats.org/officeDocument/2006/relationships" xmlns:p="http://schemas.openxmlformats.org/presentationml/2006/main">
  <p:tag name="ANGLE" val="4"/>
</p:tagLst>
</file>

<file path=ppt/tags/tag163.xml><?xml version="1.0" encoding="utf-8"?>
<p:tagLst xmlns:a="http://schemas.openxmlformats.org/drawingml/2006/main" xmlns:r="http://schemas.openxmlformats.org/officeDocument/2006/relationships" xmlns:p="http://schemas.openxmlformats.org/presentationml/2006/main">
  <p:tag name="ANGLE" val="4"/>
</p:tagLst>
</file>

<file path=ppt/tags/tag164.xml><?xml version="1.0" encoding="utf-8"?>
<p:tagLst xmlns:a="http://schemas.openxmlformats.org/drawingml/2006/main" xmlns:r="http://schemas.openxmlformats.org/officeDocument/2006/relationships" xmlns:p="http://schemas.openxmlformats.org/presentationml/2006/main">
  <p:tag name="ANGLE" val="3"/>
</p:tagLst>
</file>

<file path=ppt/tags/tag165.xml><?xml version="1.0" encoding="utf-8"?>
<p:tagLst xmlns:a="http://schemas.openxmlformats.org/drawingml/2006/main" xmlns:r="http://schemas.openxmlformats.org/officeDocument/2006/relationships" xmlns:p="http://schemas.openxmlformats.org/presentationml/2006/main">
  <p:tag name="ANGLE" val="3"/>
</p:tagLst>
</file>

<file path=ppt/tags/tag166.xml><?xml version="1.0" encoding="utf-8"?>
<p:tagLst xmlns:a="http://schemas.openxmlformats.org/drawingml/2006/main" xmlns:r="http://schemas.openxmlformats.org/officeDocument/2006/relationships" xmlns:p="http://schemas.openxmlformats.org/presentationml/2006/main">
  <p:tag name="ANGLE" val="2"/>
</p:tagLst>
</file>

<file path=ppt/tags/tag167.xml><?xml version="1.0" encoding="utf-8"?>
<p:tagLst xmlns:a="http://schemas.openxmlformats.org/drawingml/2006/main" xmlns:r="http://schemas.openxmlformats.org/officeDocument/2006/relationships" xmlns:p="http://schemas.openxmlformats.org/presentationml/2006/main">
  <p:tag name="ANGLE" val="2"/>
</p:tagLst>
</file>

<file path=ppt/tags/tag168.xml><?xml version="1.0" encoding="utf-8"?>
<p:tagLst xmlns:a="http://schemas.openxmlformats.org/drawingml/2006/main" xmlns:r="http://schemas.openxmlformats.org/officeDocument/2006/relationships" xmlns:p="http://schemas.openxmlformats.org/presentationml/2006/main">
  <p:tag name="ANGLE" val="1"/>
</p:tagLst>
</file>

<file path=ppt/tags/tag169.xml><?xml version="1.0" encoding="utf-8"?>
<p:tagLst xmlns:a="http://schemas.openxmlformats.org/drawingml/2006/main" xmlns:r="http://schemas.openxmlformats.org/officeDocument/2006/relationships" xmlns:p="http://schemas.openxmlformats.org/presentationml/2006/main">
  <p:tag name="ANGLE" val="1"/>
</p:tagLst>
</file>

<file path=ppt/tags/tag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3.xml><?xml version="1.0" encoding="utf-8"?>
<p:tagLst xmlns:a="http://schemas.openxmlformats.org/drawingml/2006/main" xmlns:r="http://schemas.openxmlformats.org/officeDocument/2006/relationships" xmlns:p="http://schemas.openxmlformats.org/presentationml/2006/main">
  <p:tag name="SHAPENAME" val="Subtitle"/>
</p:tagLst>
</file>

<file path=ppt/tags/tag174.xml><?xml version="1.0" encoding="utf-8"?>
<p:tagLst xmlns:a="http://schemas.openxmlformats.org/drawingml/2006/main" xmlns:r="http://schemas.openxmlformats.org/officeDocument/2006/relationships" xmlns:p="http://schemas.openxmlformats.org/presentationml/2006/main">
  <p:tag name="SHAPENAME" val="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5. Sourc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5. Source"/>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MTNUMBER" val="0.071192534673583"/>
  <p:tag name="MTTABLE" val="HTitleDiv"/>
</p:tagLst>
</file>

<file path=ppt/tags/tag262.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071192534673583"/>
  <p:tag name="MTTABLE" val="Cell"/>
  <p:tag name="TOP" val="110"/>
  <p:tag name="WIDTH" val="276.6667"/>
</p:tagLst>
</file>

<file path=ppt/tags/tag263.xml><?xml version="1.0" encoding="utf-8"?>
<p:tagLst xmlns:a="http://schemas.openxmlformats.org/drawingml/2006/main" xmlns:r="http://schemas.openxmlformats.org/officeDocument/2006/relationships" xmlns:p="http://schemas.openxmlformats.org/presentationml/2006/main">
  <p:tag name="HEIGHT" val="19.38748"/>
  <p:tag name="LEFT" val="341.6667"/>
  <p:tag name="MTNUMBER" val="0.071192534673583"/>
  <p:tag name="MTTABLE" val="Cell"/>
  <p:tag name="TOP" val="110"/>
  <p:tag name="WIDTH" val="276.6667"/>
</p:tagLst>
</file>

<file path=ppt/tags/tag264.xml><?xml version="1.0" encoding="utf-8"?>
<p:tagLst xmlns:a="http://schemas.openxmlformats.org/drawingml/2006/main" xmlns:r="http://schemas.openxmlformats.org/officeDocument/2006/relationships" xmlns:p="http://schemas.openxmlformats.org/presentationml/2006/main">
  <p:tag name="HEIGHT" val="-0.8812491"/>
  <p:tag name="LEFT" val="341.6667"/>
  <p:tag name="MTNUMBER" val="0.071192534673583"/>
  <p:tag name="MTTABLE" val="Cell"/>
  <p:tag name="TOP" val="309.3875"/>
  <p:tag name="WIDTH" val="276.6667"/>
</p:tagLst>
</file>

<file path=ppt/tags/tag265.xml><?xml version="1.0" encoding="utf-8"?>
<p:tagLst xmlns:a="http://schemas.openxmlformats.org/drawingml/2006/main" xmlns:r="http://schemas.openxmlformats.org/officeDocument/2006/relationships" xmlns:p="http://schemas.openxmlformats.org/presentationml/2006/main">
  <p:tag name="MTNUMBER" val="0.071192534673583"/>
  <p:tag name="MTTABLE" val="VDiv"/>
</p:tagLst>
</file>

<file path=ppt/tags/tag266.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67.xml><?xml version="1.0" encoding="utf-8"?>
<p:tagLst xmlns:a="http://schemas.openxmlformats.org/drawingml/2006/main" xmlns:r="http://schemas.openxmlformats.org/officeDocument/2006/relationships" xmlns:p="http://schemas.openxmlformats.org/presentationml/2006/main">
  <p:tag name="HEIGHT" val="-0.8812491"/>
  <p:tag name="LEFT" val="341.6667"/>
  <p:tag name="MTNUMBER" val="0.071192534673583"/>
  <p:tag name="MTTABLE" val="Cell"/>
  <p:tag name="TOP" val="309.3875"/>
  <p:tag name="WIDTH" val="276.6667"/>
</p:tagLst>
</file>

<file path=ppt/tags/tag268.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2.xml><?xml version="1.0" encoding="utf-8"?>
<p:tagLst xmlns:a="http://schemas.openxmlformats.org/drawingml/2006/main" xmlns:r="http://schemas.openxmlformats.org/officeDocument/2006/relationships" xmlns:p="http://schemas.openxmlformats.org/presentationml/2006/main">
  <p:tag name="SHAPENAME" val="Titl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4.xml><?xml version="1.0" encoding="utf-8"?>
<p:tagLst xmlns:a="http://schemas.openxmlformats.org/drawingml/2006/main" xmlns:r="http://schemas.openxmlformats.org/officeDocument/2006/relationships" xmlns:p="http://schemas.openxmlformats.org/presentationml/2006/main">
  <p:tag name="CIRCLESTATUS" val="Blue"/>
  <p:tag name="NAME" val="ChevronBlue"/>
  <p:tag name="SYMBOLNAME" val="Chevron"/>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87.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2.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5.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6.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7.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8.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2.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3.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4.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5.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1.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NAME" val="ACET"/>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ANGLE" val="5"/>
</p:tagLst>
</file>

<file path=ppt/tags/tag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xml><?xml version="1.0" encoding="utf-8"?>
<p:tagLst xmlns:a="http://schemas.openxmlformats.org/drawingml/2006/main" xmlns:r="http://schemas.openxmlformats.org/officeDocument/2006/relationships" xmlns:p="http://schemas.openxmlformats.org/presentationml/2006/main">
  <p:tag name="ANGLE" val="5"/>
</p:tagLst>
</file>

<file path=ppt/tags/tag41.xml><?xml version="1.0" encoding="utf-8"?>
<p:tagLst xmlns:a="http://schemas.openxmlformats.org/drawingml/2006/main" xmlns:r="http://schemas.openxmlformats.org/officeDocument/2006/relationships" xmlns:p="http://schemas.openxmlformats.org/presentationml/2006/main">
  <p:tag name="ANGLE" val="4"/>
</p:tagLst>
</file>

<file path=ppt/tags/tag42.xml><?xml version="1.0" encoding="utf-8"?>
<p:tagLst xmlns:a="http://schemas.openxmlformats.org/drawingml/2006/main" xmlns:r="http://schemas.openxmlformats.org/officeDocument/2006/relationships" xmlns:p="http://schemas.openxmlformats.org/presentationml/2006/main">
  <p:tag name="ANGLE" val="4"/>
</p:tagLst>
</file>

<file path=ppt/tags/tag43.xml><?xml version="1.0" encoding="utf-8"?>
<p:tagLst xmlns:a="http://schemas.openxmlformats.org/drawingml/2006/main" xmlns:r="http://schemas.openxmlformats.org/officeDocument/2006/relationships" xmlns:p="http://schemas.openxmlformats.org/presentationml/2006/main">
  <p:tag name="ANGLE" val="3"/>
</p:tagLst>
</file>

<file path=ppt/tags/tag44.xml><?xml version="1.0" encoding="utf-8"?>
<p:tagLst xmlns:a="http://schemas.openxmlformats.org/drawingml/2006/main" xmlns:r="http://schemas.openxmlformats.org/officeDocument/2006/relationships" xmlns:p="http://schemas.openxmlformats.org/presentationml/2006/main">
  <p:tag name="ANGLE" val="3"/>
</p:tagLst>
</file>

<file path=ppt/tags/tag45.xml><?xml version="1.0" encoding="utf-8"?>
<p:tagLst xmlns:a="http://schemas.openxmlformats.org/drawingml/2006/main" xmlns:r="http://schemas.openxmlformats.org/officeDocument/2006/relationships" xmlns:p="http://schemas.openxmlformats.org/presentationml/2006/main">
  <p:tag name="ANGLE" val="2"/>
</p:tagLst>
</file>

<file path=ppt/tags/tag46.xml><?xml version="1.0" encoding="utf-8"?>
<p:tagLst xmlns:a="http://schemas.openxmlformats.org/drawingml/2006/main" xmlns:r="http://schemas.openxmlformats.org/officeDocument/2006/relationships" xmlns:p="http://schemas.openxmlformats.org/presentationml/2006/main">
  <p:tag name="ANGLE" val="2"/>
</p:tagLst>
</file>

<file path=ppt/tags/tag47.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ANGLE"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Subtit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xml><?xml version="1.0" encoding="utf-8"?>
<p:tagLst xmlns:a="http://schemas.openxmlformats.org/drawingml/2006/main" xmlns:r="http://schemas.openxmlformats.org/officeDocument/2006/relationships" xmlns:p="http://schemas.openxmlformats.org/presentationml/2006/main">
  <p:tag name="SHAPENAME" val="Subtitle"/>
</p:tagLst>
</file>

<file path=ppt/tags/tag53.xml><?xml version="1.0" encoding="utf-8"?>
<p:tagLst xmlns:a="http://schemas.openxmlformats.org/drawingml/2006/main" xmlns:r="http://schemas.openxmlformats.org/officeDocument/2006/relationships" xmlns:p="http://schemas.openxmlformats.org/presentationml/2006/main">
  <p:tag name="SHAPENAME" val="Titl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Title"/>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hite">
  <a:themeElements>
    <a:clrScheme name="Scheme1">
      <a:dk1>
        <a:srgbClr val="000000"/>
      </a:dk1>
      <a:lt1>
        <a:srgbClr val="FFFFFF"/>
      </a:lt1>
      <a:dk2>
        <a:srgbClr val="FFFFFF"/>
      </a:dk2>
      <a:lt2>
        <a:srgbClr val="FFFFFF"/>
      </a:lt2>
      <a:accent1>
        <a:srgbClr val="002060"/>
      </a:accent1>
      <a:accent2>
        <a:srgbClr val="31859C"/>
      </a:accent2>
      <a:accent3>
        <a:srgbClr val="29BA74"/>
      </a:accent3>
      <a:accent4>
        <a:srgbClr val="93CCDD"/>
      </a:accent4>
      <a:accent5>
        <a:srgbClr val="414145"/>
      </a:accent5>
      <a:accent6>
        <a:srgbClr val="30C1D7"/>
      </a:accent6>
      <a:hlink>
        <a:srgbClr val="0000FF"/>
      </a:hlink>
      <a:folHlink>
        <a:srgbClr val="800080"/>
      </a:folHlink>
    </a:clrScheme>
    <a:fontScheme name="Custom">
      <a:majorFont>
        <a:latin typeface="Calibri" panose="020F0502020204030204"/>
        <a:ea typeface="Arial"/>
        <a:cs typeface="Arial"/>
      </a:majorFont>
      <a:minorFont>
        <a:latin typeface="Calibri" panose="020F0502020204030204"/>
        <a:ea typeface="Arial"/>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060"/>
        </a:accent1>
        <a:accent2>
          <a:srgbClr val="31859C"/>
        </a:accent2>
        <a:accent3>
          <a:srgbClr val="29BA74"/>
        </a:accent3>
        <a:accent4>
          <a:srgbClr val="93CCDD"/>
        </a:accent4>
        <a:accent5>
          <a:srgbClr val="414145"/>
        </a:accent5>
        <a:accent6>
          <a:srgbClr val="30C1D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E3558"/>
    </a:custClr>
    <a:custClr name="Custom Color7">
      <a:srgbClr val="670F31"/>
    </a:custClr>
    <a:custClr name="Custom Color8">
      <a:srgbClr val="E71C57"/>
    </a:custClr>
  </a:custClrLst>
  <a:extLst>
    <a:ext uri="{05A4C25C-085E-4340-85A3-A5531E510DB2}">
      <thm15:themeFamily xmlns:thm15="http://schemas.microsoft.com/office/thememl/2012/main" name="GV0436_OFF.potx" id="{D8D137ED-94D6-4674-906D-CBDC57C98381}" vid="{8A07C103-092E-423F-8DE7-DDC34C6E6CA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eme1">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CFF66"/>
        </a:solidFill>
        <a:ln>
          <a:noFill/>
        </a:ln>
        <a:effectLst/>
        <a:extLst>
          <a:ext uri="{91240B29-F687-4f45-9708-019B960494DF}">
            <a14:hiddenLine xmlns="" xmlns:a14="http://schemas.microsoft.com/office/drawing/2010/main" xmlns:r="http://schemas.openxmlformats.org/officeDocument/2006/relationships"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xmlns:r="http://schemas.openxmlformats.org/officeDocument/2006/relationships">
              <a:effectLst>
                <a:outerShdw dist="35921" dir="2700000" algn="ctr" rotWithShape="0">
                  <a:schemeClr val="bg2"/>
                </a:outerShdw>
              </a:effectLst>
            </a14:hiddenEffects>
          </a:ext>
        </a:extLst>
      </a:spPr>
      <a:bodyPr vert="horz" wrap="square" lIns="104306" tIns="52153" rIns="104306" bIns="52153" numCol="1" anchor="t" anchorCtr="0" compatLnSpc="1">
        <a:prstTxWarp prst="textNoShape">
          <a:avLst/>
        </a:prstTxWarp>
        <a:spAutoFit/>
      </a:bodyPr>
      <a:lstStyle>
        <a:defPPr marL="0" marR="0" indent="0" algn="ctr" defTabSz="1042988" rtl="0" eaLnBrk="1" fontAlgn="base" latinLnBrk="0" hangingPunct="1">
          <a:lnSpc>
            <a:spcPct val="100000"/>
          </a:lnSpc>
          <a:spcBef>
            <a:spcPct val="50000"/>
          </a:spcBef>
          <a:spcAft>
            <a:spcPct val="0"/>
          </a:spcAft>
          <a:buClrTx/>
          <a:buSzTx/>
          <a:buFontTx/>
          <a:buNone/>
          <a:tabLst/>
          <a:defRPr kumimoji="0" lang="en-US" sz="2700" b="0" i="0" u="none" strike="noStrike" cap="none" normalizeH="0" baseline="0" smtClean="0">
            <a:ln>
              <a:noFill/>
            </a:ln>
            <a:solidFill>
              <a:schemeClr val="tx1"/>
            </a:solidFill>
            <a:effectLst/>
            <a:latin typeface="Times New Roman" pitchFamily="18" charset="0"/>
            <a:cs typeface="Arial" charset="0"/>
          </a:defRPr>
        </a:defPPr>
      </a:lstStyle>
    </a:spDef>
    <a:lnDef>
      <a:spPr bwMode="auto">
        <a:xfrm>
          <a:off x="0" y="0"/>
          <a:ext cx="1" cy="1"/>
        </a:xfrm>
        <a:custGeom>
          <a:avLst/>
          <a:gdLst/>
          <a:ahLst/>
          <a:cxnLst/>
          <a:rect l="0" t="0" r="0" b="0"/>
          <a:pathLst/>
        </a:custGeom>
        <a:solidFill>
          <a:srgbClr val="CCFF66"/>
        </a:solidFill>
        <a:ln>
          <a:noFill/>
        </a:ln>
        <a:effectLst/>
        <a:extLst>
          <a:ext uri="{91240B29-F687-4f45-9708-019B960494DF}">
            <a14:hiddenLine xmlns="" xmlns:a14="http://schemas.microsoft.com/office/drawing/2010/main" xmlns:r="http://schemas.openxmlformats.org/officeDocument/2006/relationships"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xmlns:r="http://schemas.openxmlformats.org/officeDocument/2006/relationships">
              <a:effectLst>
                <a:outerShdw dist="35921" dir="2700000" algn="ctr" rotWithShape="0">
                  <a:schemeClr val="bg2"/>
                </a:outerShdw>
              </a:effectLst>
            </a14:hiddenEffects>
          </a:ext>
        </a:extLst>
      </a:spPr>
      <a:bodyPr vert="horz" wrap="square" lIns="104306" tIns="52153" rIns="104306" bIns="52153" numCol="1" anchor="t" anchorCtr="0" compatLnSpc="1">
        <a:prstTxWarp prst="textNoShape">
          <a:avLst/>
        </a:prstTxWarp>
        <a:spAutoFit/>
      </a:bodyPr>
      <a:lstStyle>
        <a:defPPr marL="0" marR="0" indent="0" algn="ctr" defTabSz="1042988" rtl="0" eaLnBrk="1" fontAlgn="base" latinLnBrk="0" hangingPunct="1">
          <a:lnSpc>
            <a:spcPct val="100000"/>
          </a:lnSpc>
          <a:spcBef>
            <a:spcPct val="50000"/>
          </a:spcBef>
          <a:spcAft>
            <a:spcPct val="0"/>
          </a:spcAft>
          <a:buClrTx/>
          <a:buSzTx/>
          <a:buFontTx/>
          <a:buNone/>
          <a:tabLst/>
          <a:defRPr kumimoji="0" lang="en-US" sz="2700" b="0" i="0" u="none" strike="noStrike" cap="none" normalizeH="0" baseline="0" smtClean="0">
            <a:ln>
              <a:noFill/>
            </a:ln>
            <a:solidFill>
              <a:schemeClr val="tx1"/>
            </a:solidFill>
            <a:effectLst/>
            <a:latin typeface="Times New Roman" pitchFamily="18"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0D5A8DDA-178A-4EBE-B62D-60E04A739EA6}" vid="{E5259AD7-F158-4DF3-BC8C-1D9F072DEBAF}"/>
    </a:ext>
  </a:extLst>
</a:theme>
</file>

<file path=ppt/theme/theme6.xml><?xml version="1.0" encoding="utf-8"?>
<a:theme xmlns:a="http://schemas.openxmlformats.org/drawingml/2006/main" name="5_Office Theme">
  <a:themeElements>
    <a:clrScheme name="Custom 15">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7F7F7F"/>
      </a:hlink>
      <a:folHlink>
        <a:srgbClr val="800080"/>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wrap="square" numCol="2">
        <a:spAutoFit/>
      </a:bodyPr>
      <a:lstStyle>
        <a:defPPr marL="0" algn="l">
          <a:spcBef>
            <a:spcPts val="0"/>
          </a:spcBef>
          <a:spcAft>
            <a:spcPts val="1200"/>
          </a:spcAft>
          <a:defRPr sz="2400" b="1" dirty="0" smtClean="0">
            <a:solidFill>
              <a:schemeClr val="tx1">
                <a:lumMod val="65000"/>
                <a:lumOff val="35000"/>
              </a:schemeClr>
            </a:solidFill>
            <a:latin typeface="Segoe Condensed" panose="020B0606040200020203" pitchFamily="34" charset="0"/>
          </a:defRPr>
        </a:defPPr>
      </a:lstStyle>
    </a:spDef>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Arial"/>
        <a:cs typeface="Arial"/>
      </a:majorFont>
      <a:minorFont>
        <a:latin typeface="Arial"/>
        <a:ea typeface="Arial"/>
        <a:cs typeface="Arial"/>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Override1.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Arial"/>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1BBB8FE9DFA9147A1088D072D403381" ma:contentTypeVersion="16" ma:contentTypeDescription="Create a new document." ma:contentTypeScope="" ma:versionID="d278385f9559ba87a1e26e9e3987c041">
  <xsd:schema xmlns:xsd="http://www.w3.org/2001/XMLSchema" xmlns:xs="http://www.w3.org/2001/XMLSchema" xmlns:p="http://schemas.microsoft.com/office/2006/metadata/properties" xmlns:ns2="327581f0-1550-4a13-a957-24a965aff0bc" xmlns:ns3="0aa5b13f-8332-4ce8-81c0-ace68ee4aa2b" targetNamespace="http://schemas.microsoft.com/office/2006/metadata/properties" ma:root="true" ma:fieldsID="7c7943da8e303c0136b3ceed87aacd14" ns2:_="" ns3:_="">
    <xsd:import namespace="327581f0-1550-4a13-a957-24a965aff0bc"/>
    <xsd:import namespace="0aa5b13f-8332-4ce8-81c0-ace68ee4aa2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LengthInSeconds" minOccurs="0"/>
                <xsd:element ref="ns2:MediaServiceDateTaken"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7581f0-1550-4a13-a957-24a965aff0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aa5b13f-8332-4ce8-81c0-ace68ee4aa2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f558785-c2be-47eb-9f5b-6ecb4f701152}" ma:internalName="TaxCatchAll" ma:showField="CatchAllData" ma:web="0aa5b13f-8332-4ce8-81c0-ace68ee4aa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aa5b13f-8332-4ce8-81c0-ace68ee4aa2b" xsi:nil="true"/>
    <lcf76f155ced4ddcb4097134ff3c332f xmlns="327581f0-1550-4a13-a957-24a965aff0b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D722B03-5C63-44B7-ABA7-17B939A7B3F2}">
  <ds:schemaRefs>
    <ds:schemaRef ds:uri="http://schemas.microsoft.com/sharepoint/v3/contenttype/forms"/>
  </ds:schemaRefs>
</ds:datastoreItem>
</file>

<file path=customXml/itemProps2.xml><?xml version="1.0" encoding="utf-8"?>
<ds:datastoreItem xmlns:ds="http://schemas.openxmlformats.org/officeDocument/2006/customXml" ds:itemID="{FDA9F18F-2AD8-4150-BAA2-125456AEA608}">
  <ds:schemaRefs>
    <ds:schemaRef ds:uri="0aa5b13f-8332-4ce8-81c0-ace68ee4aa2b"/>
    <ds:schemaRef ds:uri="327581f0-1550-4a13-a957-24a965aff0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6C49C78-CB46-4C03-A214-33FA0BA1A5B2}">
  <ds:schemaRefs>
    <ds:schemaRef ds:uri="0aa5b13f-8332-4ce8-81c0-ace68ee4aa2b"/>
    <ds:schemaRef ds:uri="327581f0-1550-4a13-a957-24a965aff0b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5036</Words>
  <Application>Microsoft Office PowerPoint</Application>
  <PresentationFormat>宽屏</PresentationFormat>
  <Paragraphs>582</Paragraphs>
  <Slides>26</Slides>
  <Notes>19</Notes>
  <HiddenSlides>0</HiddenSlides>
  <MMClips>0</MMClips>
  <ScaleCrop>false</ScaleCrop>
  <HeadingPairs>
    <vt:vector size="8" baseType="variant">
      <vt:variant>
        <vt:lpstr>已用的字体</vt:lpstr>
      </vt:variant>
      <vt:variant>
        <vt:i4>20</vt:i4>
      </vt:variant>
      <vt:variant>
        <vt:lpstr>主题</vt:lpstr>
      </vt:variant>
      <vt:variant>
        <vt:i4>10</vt:i4>
      </vt:variant>
      <vt:variant>
        <vt:lpstr>嵌入 OLE 服务器</vt:lpstr>
      </vt:variant>
      <vt:variant>
        <vt:i4>1</vt:i4>
      </vt:variant>
      <vt:variant>
        <vt:lpstr>幻灯片标题</vt:lpstr>
      </vt:variant>
      <vt:variant>
        <vt:i4>26</vt:i4>
      </vt:variant>
    </vt:vector>
  </HeadingPairs>
  <TitlesOfParts>
    <vt:vector size="57" baseType="lpstr">
      <vt:lpstr>Ebrima</vt:lpstr>
      <vt:lpstr>Calibri Light</vt:lpstr>
      <vt:lpstr>Open Sans</vt:lpstr>
      <vt:lpstr>Arial Narrow</vt:lpstr>
      <vt:lpstr>Wingdings</vt:lpstr>
      <vt:lpstr>Simsun</vt:lpstr>
      <vt:lpstr>Corbel</vt:lpstr>
      <vt:lpstr>Arial Nova</vt:lpstr>
      <vt:lpstr>Abadi</vt:lpstr>
      <vt:lpstr>Helvetica</vt:lpstr>
      <vt:lpstr>Georgia</vt:lpstr>
      <vt:lpstr>Roboto</vt:lpstr>
      <vt:lpstr>Arial</vt:lpstr>
      <vt:lpstr>Calibri</vt:lpstr>
      <vt:lpstr>Times New Roman</vt:lpstr>
      <vt:lpstr>Leelawadee</vt:lpstr>
      <vt:lpstr>ProximaNova-Regular</vt:lpstr>
      <vt:lpstr>Segoe Condensed</vt:lpstr>
      <vt:lpstr>Trebuchet MS</vt:lpstr>
      <vt:lpstr>Segoe UI</vt:lpstr>
      <vt:lpstr>Office Theme</vt:lpstr>
      <vt:lpstr>2_Office Theme</vt:lpstr>
      <vt:lpstr>3_Office Theme</vt:lpstr>
      <vt:lpstr>4_Office Theme</vt:lpstr>
      <vt:lpstr>Theme1</vt:lpstr>
      <vt:lpstr>5_Office Theme</vt:lpstr>
      <vt:lpstr>1_Office Theme</vt:lpstr>
      <vt:lpstr>6_Office Theme</vt:lpstr>
      <vt:lpstr>1_White</vt:lpstr>
      <vt:lpstr>White</vt:lpstr>
      <vt:lpstr>think-cell Slide</vt:lpstr>
      <vt:lpstr>国家卫生安全行动计划--现状和未来走向</vt:lpstr>
      <vt:lpstr>IHR监测和评估框架(MEF)</vt:lpstr>
      <vt:lpstr>缔约国自我评估年度报告  （SPAR）工具</vt:lpstr>
      <vt:lpstr>世卫组织欧洲区域2021年SPAR概览 </vt:lpstr>
      <vt:lpstr>联合外部评价（JEE）</vt:lpstr>
      <vt:lpstr>联合外部评估第三版（19个技术领域，56项指标）</vt:lpstr>
      <vt:lpstr>世卫组织欧洲区域的联合外部评价</vt:lpstr>
      <vt:lpstr>国家卫生安全行动计划(NAPHS)</vt:lpstr>
      <vt:lpstr>世卫组织2022-2026年NAPHS战略</vt:lpstr>
      <vt:lpstr>5年NAPHS &amp; 12-24个月的优先行动计划</vt:lpstr>
      <vt:lpstr>5年NAPHS &amp; 12-24个月的优先行动计划</vt:lpstr>
      <vt:lpstr>将（评估风险的战略工具） STAR与现有规划机制联系起来</vt:lpstr>
      <vt:lpstr>PowerPoint 演示文稿</vt:lpstr>
      <vt:lpstr>更新欧洲区域的NAPHS状态 </vt:lpstr>
      <vt:lpstr>成员国对欧州区域NAPHS的反馈</vt:lpstr>
      <vt:lpstr>PowerPoint 演示文稿</vt:lpstr>
      <vt:lpstr>加强全球 卫生突发事件准备和应对架构（HEPR）</vt:lpstr>
      <vt:lpstr>PowerPoint 演示文稿</vt:lpstr>
      <vt:lpstr>深度探索：卫生突发事件准备、应对和韧性建设需要部门间协调....</vt:lpstr>
      <vt:lpstr>卫生突发事件准备和应对是以重视初级卫生保健的原则为基础的...</vt:lpstr>
      <vt:lpstr>卫生突发事件开始于和结束于社区 ...</vt:lpstr>
      <vt:lpstr>总干事的白皮书概述了加强HEPR全球架构的解决方案</vt:lpstr>
      <vt:lpstr>深入探讨：为HEPR系统开发相互联系的核心能力和解决方案</vt:lpstr>
      <vt:lpstr>在水平和垂直方向上系统的各个环节要紧密联系。</vt:lpstr>
      <vt:lpstr>通过包容性的合作和共同创造伙伴关系，汇聚复杂的生态系统</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en Anoushian</dc:creator>
  <cp:lastModifiedBy>nyc0121101073@163.com</cp:lastModifiedBy>
  <cp:revision>2</cp:revision>
  <dcterms:created xsi:type="dcterms:W3CDTF">2022-01-05T17:32:59Z</dcterms:created>
  <dcterms:modified xsi:type="dcterms:W3CDTF">2022-11-27T09:5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BBB8FE9DFA9147A1088D072D403381</vt:lpwstr>
  </property>
  <property fmtid="{D5CDD505-2E9C-101B-9397-08002B2CF9AE}" pid="3" name="MediaServiceImageTags">
    <vt:lpwstr/>
  </property>
</Properties>
</file>